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6" r:id="rId2"/>
    <p:sldId id="269" r:id="rId3"/>
    <p:sldId id="258" r:id="rId4"/>
    <p:sldId id="270" r:id="rId5"/>
    <p:sldId id="274" r:id="rId6"/>
    <p:sldId id="275" r:id="rId7"/>
    <p:sldId id="276" r:id="rId8"/>
    <p:sldId id="277" r:id="rId9"/>
    <p:sldId id="283" r:id="rId10"/>
    <p:sldId id="279" r:id="rId11"/>
    <p:sldId id="281" r:id="rId12"/>
    <p:sldId id="284" r:id="rId13"/>
    <p:sldId id="285" r:id="rId14"/>
    <p:sldId id="286" r:id="rId15"/>
    <p:sldId id="289" r:id="rId16"/>
    <p:sldId id="290" r:id="rId17"/>
    <p:sldId id="288" r:id="rId18"/>
    <p:sldId id="291" r:id="rId19"/>
    <p:sldId id="287" r:id="rId20"/>
    <p:sldId id="293" r:id="rId21"/>
    <p:sldId id="292" r:id="rId22"/>
    <p:sldId id="294" r:id="rId23"/>
    <p:sldId id="295" r:id="rId24"/>
    <p:sldId id="299" r:id="rId25"/>
    <p:sldId id="296" r:id="rId26"/>
    <p:sldId id="297" r:id="rId27"/>
    <p:sldId id="298" r:id="rId28"/>
    <p:sldId id="261" r:id="rId29"/>
  </p:sldIdLst>
  <p:sldSz cx="12192000" cy="6858000"/>
  <p:notesSz cx="6858000" cy="9144000"/>
  <p:custDataLst>
    <p:tags r:id="rId3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FC1"/>
    <a:srgbClr val="FFCB31"/>
    <a:srgbClr val="FFFFFF"/>
    <a:srgbClr val="FDBB33"/>
    <a:srgbClr val="443DD9"/>
    <a:srgbClr val="3B9ADA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>
        <p:scale>
          <a:sx n="66" d="100"/>
          <a:sy n="66" d="100"/>
        </p:scale>
        <p:origin x="318" y="24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9/21 Saturday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9/21 Saturday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pattFill prst="dotGrid">
          <a:fgClr>
            <a:schemeClr val="accent3"/>
          </a:fgClr>
          <a:bgClr>
            <a:schemeClr val="accent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43623" y="4154480"/>
            <a:ext cx="4575276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943623" y="1476966"/>
            <a:ext cx="4575276" cy="2677514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943623" y="4788492"/>
            <a:ext cx="45752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943623" y="5084763"/>
            <a:ext cx="45752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7" name="ïšľîḓê">
            <a:extLst>
              <a:ext uri="{FF2B5EF4-FFF2-40B4-BE49-F238E27FC236}">
                <a16:creationId xmlns:a16="http://schemas.microsoft.com/office/drawing/2014/main" id="{33AE5E29-CF54-4896-B86C-32243F063CC6}"/>
              </a:ext>
            </a:extLst>
          </p:cNvPr>
          <p:cNvSpPr/>
          <p:nvPr/>
        </p:nvSpPr>
        <p:spPr bwMode="auto">
          <a:xfrm>
            <a:off x="1174378" y="1238390"/>
            <a:ext cx="4776003" cy="4771256"/>
          </a:xfrm>
          <a:custGeom>
            <a:avLst/>
            <a:gdLst>
              <a:gd name="T0" fmla="*/ 727 w 1453"/>
              <a:gd name="T1" fmla="*/ 0 h 1453"/>
              <a:gd name="T2" fmla="*/ 0 w 1453"/>
              <a:gd name="T3" fmla="*/ 727 h 1453"/>
              <a:gd name="T4" fmla="*/ 727 w 1453"/>
              <a:gd name="T5" fmla="*/ 1453 h 1453"/>
              <a:gd name="T6" fmla="*/ 1453 w 1453"/>
              <a:gd name="T7" fmla="*/ 727 h 1453"/>
              <a:gd name="T8" fmla="*/ 727 w 1453"/>
              <a:gd name="T9" fmla="*/ 0 h 1453"/>
              <a:gd name="T10" fmla="*/ 727 w 1453"/>
              <a:gd name="T11" fmla="*/ 1225 h 1453"/>
              <a:gd name="T12" fmla="*/ 228 w 1453"/>
              <a:gd name="T13" fmla="*/ 727 h 1453"/>
              <a:gd name="T14" fmla="*/ 727 w 1453"/>
              <a:gd name="T15" fmla="*/ 228 h 1453"/>
              <a:gd name="T16" fmla="*/ 1225 w 1453"/>
              <a:gd name="T17" fmla="*/ 727 h 1453"/>
              <a:gd name="T18" fmla="*/ 727 w 1453"/>
              <a:gd name="T19" fmla="*/ 1225 h 1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53" h="1453">
                <a:moveTo>
                  <a:pt x="727" y="0"/>
                </a:moveTo>
                <a:cubicBezTo>
                  <a:pt x="325" y="0"/>
                  <a:pt x="0" y="325"/>
                  <a:pt x="0" y="727"/>
                </a:cubicBezTo>
                <a:cubicBezTo>
                  <a:pt x="0" y="1128"/>
                  <a:pt x="325" y="1453"/>
                  <a:pt x="727" y="1453"/>
                </a:cubicBezTo>
                <a:cubicBezTo>
                  <a:pt x="1128" y="1453"/>
                  <a:pt x="1453" y="1128"/>
                  <a:pt x="1453" y="727"/>
                </a:cubicBezTo>
                <a:cubicBezTo>
                  <a:pt x="1453" y="325"/>
                  <a:pt x="1128" y="0"/>
                  <a:pt x="727" y="0"/>
                </a:cubicBezTo>
                <a:close/>
                <a:moveTo>
                  <a:pt x="727" y="1225"/>
                </a:moveTo>
                <a:cubicBezTo>
                  <a:pt x="451" y="1225"/>
                  <a:pt x="228" y="1002"/>
                  <a:pt x="228" y="727"/>
                </a:cubicBezTo>
                <a:cubicBezTo>
                  <a:pt x="228" y="451"/>
                  <a:pt x="451" y="228"/>
                  <a:pt x="727" y="228"/>
                </a:cubicBezTo>
                <a:cubicBezTo>
                  <a:pt x="1002" y="228"/>
                  <a:pt x="1225" y="451"/>
                  <a:pt x="1225" y="727"/>
                </a:cubicBezTo>
                <a:cubicBezTo>
                  <a:pt x="1225" y="1002"/>
                  <a:pt x="1002" y="1225"/>
                  <a:pt x="727" y="122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1" name="ïṥļiḑé">
            <a:extLst>
              <a:ext uri="{FF2B5EF4-FFF2-40B4-BE49-F238E27FC236}">
                <a16:creationId xmlns:a16="http://schemas.microsoft.com/office/drawing/2014/main" id="{E1BE00C0-1B67-4344-AA89-8B74AD778599}"/>
              </a:ext>
            </a:extLst>
          </p:cNvPr>
          <p:cNvSpPr/>
          <p:nvPr/>
        </p:nvSpPr>
        <p:spPr bwMode="auto">
          <a:xfrm>
            <a:off x="578872" y="1642293"/>
            <a:ext cx="2281986" cy="971615"/>
          </a:xfrm>
          <a:custGeom>
            <a:avLst/>
            <a:gdLst>
              <a:gd name="T0" fmla="*/ 138 w 713"/>
              <a:gd name="T1" fmla="*/ 166 h 304"/>
              <a:gd name="T2" fmla="*/ 216 w 713"/>
              <a:gd name="T3" fmla="*/ 190 h 304"/>
              <a:gd name="T4" fmla="*/ 275 w 713"/>
              <a:gd name="T5" fmla="*/ 157 h 304"/>
              <a:gd name="T6" fmla="*/ 273 w 713"/>
              <a:gd name="T7" fmla="*/ 137 h 304"/>
              <a:gd name="T8" fmla="*/ 411 w 713"/>
              <a:gd name="T9" fmla="*/ 0 h 304"/>
              <a:gd name="T10" fmla="*/ 548 w 713"/>
              <a:gd name="T11" fmla="*/ 137 h 304"/>
              <a:gd name="T12" fmla="*/ 544 w 713"/>
              <a:gd name="T13" fmla="*/ 170 h 304"/>
              <a:gd name="T14" fmla="*/ 576 w 713"/>
              <a:gd name="T15" fmla="*/ 166 h 304"/>
              <a:gd name="T16" fmla="*/ 713 w 713"/>
              <a:gd name="T17" fmla="*/ 304 h 304"/>
              <a:gd name="T18" fmla="*/ 0 w 713"/>
              <a:gd name="T19" fmla="*/ 304 h 304"/>
              <a:gd name="T20" fmla="*/ 138 w 713"/>
              <a:gd name="T21" fmla="*/ 166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13" h="304">
                <a:moveTo>
                  <a:pt x="138" y="166"/>
                </a:moveTo>
                <a:cubicBezTo>
                  <a:pt x="167" y="166"/>
                  <a:pt x="193" y="175"/>
                  <a:pt x="216" y="190"/>
                </a:cubicBezTo>
                <a:cubicBezTo>
                  <a:pt x="231" y="173"/>
                  <a:pt x="251" y="161"/>
                  <a:pt x="275" y="157"/>
                </a:cubicBezTo>
                <a:cubicBezTo>
                  <a:pt x="274" y="151"/>
                  <a:pt x="273" y="144"/>
                  <a:pt x="273" y="137"/>
                </a:cubicBezTo>
                <a:cubicBezTo>
                  <a:pt x="273" y="61"/>
                  <a:pt x="335" y="0"/>
                  <a:pt x="411" y="0"/>
                </a:cubicBezTo>
                <a:cubicBezTo>
                  <a:pt x="487" y="0"/>
                  <a:pt x="548" y="61"/>
                  <a:pt x="548" y="137"/>
                </a:cubicBezTo>
                <a:cubicBezTo>
                  <a:pt x="548" y="148"/>
                  <a:pt x="547" y="159"/>
                  <a:pt x="544" y="170"/>
                </a:cubicBezTo>
                <a:cubicBezTo>
                  <a:pt x="554" y="167"/>
                  <a:pt x="565" y="166"/>
                  <a:pt x="576" y="166"/>
                </a:cubicBezTo>
                <a:cubicBezTo>
                  <a:pt x="652" y="166"/>
                  <a:pt x="713" y="224"/>
                  <a:pt x="713" y="304"/>
                </a:cubicBezTo>
                <a:cubicBezTo>
                  <a:pt x="0" y="304"/>
                  <a:pt x="0" y="304"/>
                  <a:pt x="0" y="304"/>
                </a:cubicBezTo>
                <a:cubicBezTo>
                  <a:pt x="0" y="224"/>
                  <a:pt x="62" y="166"/>
                  <a:pt x="138" y="16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3DB259B-02C0-40B7-AB38-A775C002D8FF}"/>
              </a:ext>
            </a:extLst>
          </p:cNvPr>
          <p:cNvGrpSpPr/>
          <p:nvPr userDrawn="1"/>
        </p:nvGrpSpPr>
        <p:grpSpPr>
          <a:xfrm>
            <a:off x="697437" y="2165825"/>
            <a:ext cx="5926696" cy="2851713"/>
            <a:chOff x="697437" y="2165825"/>
            <a:chExt cx="5926696" cy="2851713"/>
          </a:xfrm>
        </p:grpSpPr>
        <p:sp>
          <p:nvSpPr>
            <p:cNvPr id="8" name="íṩliḍé">
              <a:extLst>
                <a:ext uri="{FF2B5EF4-FFF2-40B4-BE49-F238E27FC236}">
                  <a16:creationId xmlns:a16="http://schemas.microsoft.com/office/drawing/2014/main" id="{D5FE580E-00A9-46EF-BBB1-67E95FCA8ED0}"/>
                </a:ext>
              </a:extLst>
            </p:cNvPr>
            <p:cNvSpPr/>
            <p:nvPr/>
          </p:nvSpPr>
          <p:spPr bwMode="auto">
            <a:xfrm>
              <a:off x="697437" y="3265244"/>
              <a:ext cx="2252730" cy="588204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ṡḻiḋé">
              <a:extLst>
                <a:ext uri="{FF2B5EF4-FFF2-40B4-BE49-F238E27FC236}">
                  <a16:creationId xmlns:a16="http://schemas.microsoft.com/office/drawing/2014/main" id="{2FC4787B-EEA5-457D-91EE-908194A6A94B}"/>
                </a:ext>
              </a:extLst>
            </p:cNvPr>
            <p:cNvSpPr/>
            <p:nvPr/>
          </p:nvSpPr>
          <p:spPr bwMode="auto">
            <a:xfrm>
              <a:off x="697437" y="3853448"/>
              <a:ext cx="2252730" cy="602063"/>
            </a:xfrm>
            <a:prstGeom prst="rect">
              <a:avLst/>
            </a:prstGeom>
            <a:solidFill>
              <a:srgbClr val="D1D3D4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íṣḷiḍé">
              <a:extLst>
                <a:ext uri="{FF2B5EF4-FFF2-40B4-BE49-F238E27FC236}">
                  <a16:creationId xmlns:a16="http://schemas.microsoft.com/office/drawing/2014/main" id="{9B1770BF-780B-4E3B-8E36-94A8BC60FFFC}"/>
                </a:ext>
              </a:extLst>
            </p:cNvPr>
            <p:cNvSpPr/>
            <p:nvPr/>
          </p:nvSpPr>
          <p:spPr bwMode="auto">
            <a:xfrm>
              <a:off x="697437" y="4455510"/>
              <a:ext cx="2252730" cy="562028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ïsľiḍe">
              <a:extLst>
                <a:ext uri="{FF2B5EF4-FFF2-40B4-BE49-F238E27FC236}">
                  <a16:creationId xmlns:a16="http://schemas.microsoft.com/office/drawing/2014/main" id="{90D4A178-8369-46A9-8164-CC64658DAC08}"/>
                </a:ext>
              </a:extLst>
            </p:cNvPr>
            <p:cNvSpPr/>
            <p:nvPr/>
          </p:nvSpPr>
          <p:spPr bwMode="auto">
            <a:xfrm>
              <a:off x="997698" y="3998190"/>
              <a:ext cx="26330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Sḷíḍe">
              <a:extLst>
                <a:ext uri="{FF2B5EF4-FFF2-40B4-BE49-F238E27FC236}">
                  <a16:creationId xmlns:a16="http://schemas.microsoft.com/office/drawing/2014/main" id="{307E3C49-8C88-4969-A880-7DDE14176426}"/>
                </a:ext>
              </a:extLst>
            </p:cNvPr>
            <p:cNvSpPr/>
            <p:nvPr/>
          </p:nvSpPr>
          <p:spPr bwMode="auto">
            <a:xfrm>
              <a:off x="1418064" y="3998190"/>
              <a:ext cx="26176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šļïde">
              <a:extLst>
                <a:ext uri="{FF2B5EF4-FFF2-40B4-BE49-F238E27FC236}">
                  <a16:creationId xmlns:a16="http://schemas.microsoft.com/office/drawing/2014/main" id="{E7E41879-B52B-408F-B904-C572C732E5CE}"/>
                </a:ext>
              </a:extLst>
            </p:cNvPr>
            <p:cNvSpPr/>
            <p:nvPr/>
          </p:nvSpPr>
          <p:spPr bwMode="auto">
            <a:xfrm flipH="1">
              <a:off x="991538" y="4634127"/>
              <a:ext cx="1638349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śľíḋé">
              <a:extLst>
                <a:ext uri="{FF2B5EF4-FFF2-40B4-BE49-F238E27FC236}">
                  <a16:creationId xmlns:a16="http://schemas.microsoft.com/office/drawing/2014/main" id="{EEC6F3B2-8814-4A19-A22E-6CC0D2D2E8AB}"/>
                </a:ext>
              </a:extLst>
            </p:cNvPr>
            <p:cNvSpPr/>
            <p:nvPr/>
          </p:nvSpPr>
          <p:spPr bwMode="auto">
            <a:xfrm flipH="1">
              <a:off x="991538" y="4788107"/>
              <a:ext cx="1638349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ṧļïḋe">
              <a:extLst>
                <a:ext uri="{FF2B5EF4-FFF2-40B4-BE49-F238E27FC236}">
                  <a16:creationId xmlns:a16="http://schemas.microsoft.com/office/drawing/2014/main" id="{195673DD-CDE0-43C9-A431-E899ECC96B6E}"/>
                </a:ext>
              </a:extLst>
            </p:cNvPr>
            <p:cNvSpPr/>
            <p:nvPr/>
          </p:nvSpPr>
          <p:spPr bwMode="auto">
            <a:xfrm>
              <a:off x="2629888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š1idé">
              <a:extLst>
                <a:ext uri="{FF2B5EF4-FFF2-40B4-BE49-F238E27FC236}">
                  <a16:creationId xmlns:a16="http://schemas.microsoft.com/office/drawing/2014/main" id="{A785A7E0-A048-493A-BB50-691CC2732AF7}"/>
                </a:ext>
              </a:extLst>
            </p:cNvPr>
            <p:cNvSpPr/>
            <p:nvPr/>
          </p:nvSpPr>
          <p:spPr bwMode="auto">
            <a:xfrm>
              <a:off x="2489766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$1íḓè">
              <a:extLst>
                <a:ext uri="{FF2B5EF4-FFF2-40B4-BE49-F238E27FC236}">
                  <a16:creationId xmlns:a16="http://schemas.microsoft.com/office/drawing/2014/main" id="{6D000277-436C-471A-8D55-EE37672C5EEB}"/>
                </a:ext>
              </a:extLst>
            </p:cNvPr>
            <p:cNvSpPr/>
            <p:nvPr/>
          </p:nvSpPr>
          <p:spPr bwMode="auto">
            <a:xfrm>
              <a:off x="2348105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ṥḻîḓè">
              <a:extLst>
                <a:ext uri="{FF2B5EF4-FFF2-40B4-BE49-F238E27FC236}">
                  <a16:creationId xmlns:a16="http://schemas.microsoft.com/office/drawing/2014/main" id="{78591CD7-239F-43B8-9244-044E1CA6882D}"/>
                </a:ext>
              </a:extLst>
            </p:cNvPr>
            <p:cNvSpPr/>
            <p:nvPr/>
          </p:nvSpPr>
          <p:spPr bwMode="auto">
            <a:xfrm>
              <a:off x="2181806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ïṣľíḍe">
              <a:extLst>
                <a:ext uri="{FF2B5EF4-FFF2-40B4-BE49-F238E27FC236}">
                  <a16:creationId xmlns:a16="http://schemas.microsoft.com/office/drawing/2014/main" id="{77A6A589-B6BE-4B4D-A935-5E44433A29F4}"/>
                </a:ext>
              </a:extLst>
            </p:cNvPr>
            <p:cNvSpPr/>
            <p:nvPr/>
          </p:nvSpPr>
          <p:spPr bwMode="auto">
            <a:xfrm>
              <a:off x="2029365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iŝḻïďé">
              <a:extLst>
                <a:ext uri="{FF2B5EF4-FFF2-40B4-BE49-F238E27FC236}">
                  <a16:creationId xmlns:a16="http://schemas.microsoft.com/office/drawing/2014/main" id="{1535F506-409D-42C0-88B1-ED6A2520CDE7}"/>
                </a:ext>
              </a:extLst>
            </p:cNvPr>
            <p:cNvSpPr/>
            <p:nvPr/>
          </p:nvSpPr>
          <p:spPr bwMode="auto">
            <a:xfrm flipH="1">
              <a:off x="1504293" y="4109055"/>
              <a:ext cx="115486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ṥḷîḋé">
              <a:extLst>
                <a:ext uri="{FF2B5EF4-FFF2-40B4-BE49-F238E27FC236}">
                  <a16:creationId xmlns:a16="http://schemas.microsoft.com/office/drawing/2014/main" id="{0F6AA435-7029-4391-B8DB-C28432E0C52B}"/>
                </a:ext>
              </a:extLst>
            </p:cNvPr>
            <p:cNvSpPr/>
            <p:nvPr/>
          </p:nvSpPr>
          <p:spPr bwMode="auto">
            <a:xfrm flipH="1">
              <a:off x="1094706" y="4109055"/>
              <a:ext cx="89308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$ḷiḍê">
              <a:extLst>
                <a:ext uri="{FF2B5EF4-FFF2-40B4-BE49-F238E27FC236}">
                  <a16:creationId xmlns:a16="http://schemas.microsoft.com/office/drawing/2014/main" id="{E5A71390-F46C-4573-8FB0-E43DE3E7A514}"/>
                </a:ext>
              </a:extLst>
            </p:cNvPr>
            <p:cNvSpPr/>
            <p:nvPr/>
          </p:nvSpPr>
          <p:spPr bwMode="auto">
            <a:xfrm>
              <a:off x="1017716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ṩļiḍé">
              <a:extLst>
                <a:ext uri="{FF2B5EF4-FFF2-40B4-BE49-F238E27FC236}">
                  <a16:creationId xmlns:a16="http://schemas.microsoft.com/office/drawing/2014/main" id="{9F78BDB6-5EE2-4ED6-954B-CB8FCEDA6A56}"/>
                </a:ext>
              </a:extLst>
            </p:cNvPr>
            <p:cNvSpPr/>
            <p:nvPr/>
          </p:nvSpPr>
          <p:spPr bwMode="auto">
            <a:xfrm>
              <a:off x="1184014" y="3445400"/>
              <a:ext cx="50814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îś1iďé">
              <a:extLst>
                <a:ext uri="{FF2B5EF4-FFF2-40B4-BE49-F238E27FC236}">
                  <a16:creationId xmlns:a16="http://schemas.microsoft.com/office/drawing/2014/main" id="{F095111E-1E54-4C7F-A43B-7B97615C686D}"/>
                </a:ext>
              </a:extLst>
            </p:cNvPr>
            <p:cNvSpPr/>
            <p:nvPr/>
          </p:nvSpPr>
          <p:spPr bwMode="auto">
            <a:xfrm>
              <a:off x="1311818" y="3445400"/>
              <a:ext cx="103167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ŝľïďè">
              <a:extLst>
                <a:ext uri="{FF2B5EF4-FFF2-40B4-BE49-F238E27FC236}">
                  <a16:creationId xmlns:a16="http://schemas.microsoft.com/office/drawing/2014/main" id="{FB9F4931-F434-4CAC-95B9-74B5BEA47C60}"/>
                </a:ext>
              </a:extLst>
            </p:cNvPr>
            <p:cNvSpPr/>
            <p:nvPr/>
          </p:nvSpPr>
          <p:spPr bwMode="auto">
            <a:xfrm>
              <a:off x="1478116" y="3445400"/>
              <a:ext cx="103167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ṩlîḓè">
              <a:extLst>
                <a:ext uri="{FF2B5EF4-FFF2-40B4-BE49-F238E27FC236}">
                  <a16:creationId xmlns:a16="http://schemas.microsoft.com/office/drawing/2014/main" id="{9D6248CE-99BA-42F6-9CE9-EB1057F17316}"/>
                </a:ext>
              </a:extLst>
            </p:cNvPr>
            <p:cNvSpPr/>
            <p:nvPr/>
          </p:nvSpPr>
          <p:spPr bwMode="auto">
            <a:xfrm>
              <a:off x="1656733" y="3445400"/>
              <a:ext cx="64672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îsľíḓé">
              <a:extLst>
                <a:ext uri="{FF2B5EF4-FFF2-40B4-BE49-F238E27FC236}">
                  <a16:creationId xmlns:a16="http://schemas.microsoft.com/office/drawing/2014/main" id="{C591AE05-A188-4E9B-9F51-31ABD0E56C5E}"/>
                </a:ext>
              </a:extLst>
            </p:cNvPr>
            <p:cNvSpPr/>
            <p:nvPr/>
          </p:nvSpPr>
          <p:spPr bwMode="auto">
            <a:xfrm flipH="1">
              <a:off x="1798395" y="3457719"/>
              <a:ext cx="920801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š1îḍê">
              <a:extLst>
                <a:ext uri="{FF2B5EF4-FFF2-40B4-BE49-F238E27FC236}">
                  <a16:creationId xmlns:a16="http://schemas.microsoft.com/office/drawing/2014/main" id="{2545CA94-2F61-4C80-B5AC-A71550FBBEC1}"/>
                </a:ext>
              </a:extLst>
            </p:cNvPr>
            <p:cNvSpPr/>
            <p:nvPr/>
          </p:nvSpPr>
          <p:spPr bwMode="auto">
            <a:xfrm flipH="1">
              <a:off x="1798395" y="3624018"/>
              <a:ext cx="920801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šlíḋé">
              <a:extLst>
                <a:ext uri="{FF2B5EF4-FFF2-40B4-BE49-F238E27FC236}">
                  <a16:creationId xmlns:a16="http://schemas.microsoft.com/office/drawing/2014/main" id="{828EA801-2DEE-4F4F-BEBF-A67DAEC05B1F}"/>
                </a:ext>
              </a:extLst>
            </p:cNvPr>
            <p:cNvSpPr/>
            <p:nvPr/>
          </p:nvSpPr>
          <p:spPr bwMode="auto">
            <a:xfrm>
              <a:off x="1913880" y="2165825"/>
              <a:ext cx="3583118" cy="2506797"/>
            </a:xfrm>
            <a:custGeom>
              <a:avLst/>
              <a:gdLst>
                <a:gd name="T0" fmla="*/ 1120 w 1120"/>
                <a:gd name="T1" fmla="*/ 47 h 784"/>
                <a:gd name="T2" fmla="*/ 1067 w 1120"/>
                <a:gd name="T3" fmla="*/ 0 h 784"/>
                <a:gd name="T4" fmla="*/ 54 w 1120"/>
                <a:gd name="T5" fmla="*/ 0 h 784"/>
                <a:gd name="T6" fmla="*/ 0 w 1120"/>
                <a:gd name="T7" fmla="*/ 47 h 784"/>
                <a:gd name="T8" fmla="*/ 0 w 1120"/>
                <a:gd name="T9" fmla="*/ 784 h 784"/>
                <a:gd name="T10" fmla="*/ 1120 w 1120"/>
                <a:gd name="T11" fmla="*/ 784 h 784"/>
                <a:gd name="T12" fmla="*/ 1120 w 1120"/>
                <a:gd name="T13" fmla="*/ 4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0" h="784">
                  <a:moveTo>
                    <a:pt x="1120" y="47"/>
                  </a:moveTo>
                  <a:cubicBezTo>
                    <a:pt x="1120" y="19"/>
                    <a:pt x="1096" y="0"/>
                    <a:pt x="106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6" y="0"/>
                    <a:pt x="0" y="19"/>
                    <a:pt x="0" y="47"/>
                  </a:cubicBezTo>
                  <a:cubicBezTo>
                    <a:pt x="0" y="784"/>
                    <a:pt x="0" y="784"/>
                    <a:pt x="0" y="784"/>
                  </a:cubicBezTo>
                  <a:cubicBezTo>
                    <a:pt x="1120" y="784"/>
                    <a:pt x="1120" y="784"/>
                    <a:pt x="1120" y="784"/>
                  </a:cubicBezTo>
                  <a:lnTo>
                    <a:pt x="1120" y="47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śļidè">
              <a:extLst>
                <a:ext uri="{FF2B5EF4-FFF2-40B4-BE49-F238E27FC236}">
                  <a16:creationId xmlns:a16="http://schemas.microsoft.com/office/drawing/2014/main" id="{B6D32C68-889B-4B5E-A0AC-ECA43404118B}"/>
                </a:ext>
              </a:extLst>
            </p:cNvPr>
            <p:cNvSpPr/>
            <p:nvPr/>
          </p:nvSpPr>
          <p:spPr bwMode="auto">
            <a:xfrm>
              <a:off x="1632096" y="4672622"/>
              <a:ext cx="4146685" cy="344916"/>
            </a:xfrm>
            <a:custGeom>
              <a:avLst/>
              <a:gdLst>
                <a:gd name="T0" fmla="*/ 0 w 1296"/>
                <a:gd name="T1" fmla="*/ 0 h 108"/>
                <a:gd name="T2" fmla="*/ 0 w 1296"/>
                <a:gd name="T3" fmla="*/ 57 h 108"/>
                <a:gd name="T4" fmla="*/ 66 w 1296"/>
                <a:gd name="T5" fmla="*/ 108 h 108"/>
                <a:gd name="T6" fmla="*/ 1232 w 1296"/>
                <a:gd name="T7" fmla="*/ 108 h 108"/>
                <a:gd name="T8" fmla="*/ 1296 w 1296"/>
                <a:gd name="T9" fmla="*/ 57 h 108"/>
                <a:gd name="T10" fmla="*/ 1296 w 1296"/>
                <a:gd name="T11" fmla="*/ 0 h 108"/>
                <a:gd name="T12" fmla="*/ 0 w 1296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6" h="108">
                  <a:moveTo>
                    <a:pt x="0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0" y="85"/>
                    <a:pt x="33" y="108"/>
                    <a:pt x="66" y="108"/>
                  </a:cubicBezTo>
                  <a:cubicBezTo>
                    <a:pt x="1232" y="108"/>
                    <a:pt x="1232" y="108"/>
                    <a:pt x="1232" y="108"/>
                  </a:cubicBezTo>
                  <a:cubicBezTo>
                    <a:pt x="1265" y="108"/>
                    <a:pt x="1296" y="85"/>
                    <a:pt x="1296" y="57"/>
                  </a:cubicBezTo>
                  <a:cubicBezTo>
                    <a:pt x="1296" y="0"/>
                    <a:pt x="1296" y="0"/>
                    <a:pt x="129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1F2F2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slíḍe">
              <a:extLst>
                <a:ext uri="{FF2B5EF4-FFF2-40B4-BE49-F238E27FC236}">
                  <a16:creationId xmlns:a16="http://schemas.microsoft.com/office/drawing/2014/main" id="{3D9C8450-3702-46D1-90CE-BBF1A3DB716E}"/>
                </a:ext>
              </a:extLst>
            </p:cNvPr>
            <p:cNvSpPr/>
            <p:nvPr/>
          </p:nvSpPr>
          <p:spPr bwMode="auto">
            <a:xfrm>
              <a:off x="2143310" y="2358300"/>
              <a:ext cx="3124257" cy="209721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ṥļiḑè">
              <a:extLst>
                <a:ext uri="{FF2B5EF4-FFF2-40B4-BE49-F238E27FC236}">
                  <a16:creationId xmlns:a16="http://schemas.microsoft.com/office/drawing/2014/main" id="{5A2E66B7-2320-47E8-B5E6-D7F174EABEF4}"/>
                </a:ext>
              </a:extLst>
            </p:cNvPr>
            <p:cNvSpPr/>
            <p:nvPr/>
          </p:nvSpPr>
          <p:spPr bwMode="auto">
            <a:xfrm>
              <a:off x="3513734" y="4863558"/>
              <a:ext cx="409588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$ļíḍê">
              <a:extLst>
                <a:ext uri="{FF2B5EF4-FFF2-40B4-BE49-F238E27FC236}">
                  <a16:creationId xmlns:a16="http://schemas.microsoft.com/office/drawing/2014/main" id="{D5158695-F0D0-4B01-B591-96E9052E8F5F}"/>
                </a:ext>
              </a:extLst>
            </p:cNvPr>
            <p:cNvSpPr/>
            <p:nvPr/>
          </p:nvSpPr>
          <p:spPr bwMode="auto">
            <a:xfrm>
              <a:off x="4730177" y="2613907"/>
              <a:ext cx="294103" cy="5112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Sľîḋe">
              <a:extLst>
                <a:ext uri="{FF2B5EF4-FFF2-40B4-BE49-F238E27FC236}">
                  <a16:creationId xmlns:a16="http://schemas.microsoft.com/office/drawing/2014/main" id="{7523E9BF-F02C-4C7F-909D-26500CB10F30}"/>
                </a:ext>
              </a:extLst>
            </p:cNvPr>
            <p:cNvSpPr/>
            <p:nvPr/>
          </p:nvSpPr>
          <p:spPr bwMode="auto">
            <a:xfrm>
              <a:off x="2425094" y="2613907"/>
              <a:ext cx="2151103" cy="5112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ṡlîdé">
              <a:extLst>
                <a:ext uri="{FF2B5EF4-FFF2-40B4-BE49-F238E27FC236}">
                  <a16:creationId xmlns:a16="http://schemas.microsoft.com/office/drawing/2014/main" id="{A5D7DF5A-C9DB-4664-923E-5D53042B94FA}"/>
                </a:ext>
              </a:extLst>
            </p:cNvPr>
            <p:cNvSpPr/>
            <p:nvPr/>
          </p:nvSpPr>
          <p:spPr bwMode="auto">
            <a:xfrm>
              <a:off x="2425094" y="3265244"/>
              <a:ext cx="589745" cy="5127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ṥ1ïḍé">
              <a:extLst>
                <a:ext uri="{FF2B5EF4-FFF2-40B4-BE49-F238E27FC236}">
                  <a16:creationId xmlns:a16="http://schemas.microsoft.com/office/drawing/2014/main" id="{911197CA-C5C3-4F60-A8F8-F32BB997C8F2}"/>
                </a:ext>
              </a:extLst>
            </p:cNvPr>
            <p:cNvSpPr/>
            <p:nvPr/>
          </p:nvSpPr>
          <p:spPr bwMode="auto">
            <a:xfrm>
              <a:off x="3128783" y="3265244"/>
              <a:ext cx="1844682" cy="5127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sľiďê">
              <a:extLst>
                <a:ext uri="{FF2B5EF4-FFF2-40B4-BE49-F238E27FC236}">
                  <a16:creationId xmlns:a16="http://schemas.microsoft.com/office/drawing/2014/main" id="{FFA3BF85-FB30-4AD5-8647-DE30F6B7650C}"/>
                </a:ext>
              </a:extLst>
            </p:cNvPr>
            <p:cNvSpPr/>
            <p:nvPr/>
          </p:nvSpPr>
          <p:spPr bwMode="auto">
            <a:xfrm>
              <a:off x="2425094" y="3944296"/>
              <a:ext cx="2548372" cy="2417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ṡlïde">
              <a:extLst>
                <a:ext uri="{FF2B5EF4-FFF2-40B4-BE49-F238E27FC236}">
                  <a16:creationId xmlns:a16="http://schemas.microsoft.com/office/drawing/2014/main" id="{A04618D9-FD6A-447B-B236-6B04BEA2ABC0}"/>
                </a:ext>
              </a:extLst>
            </p:cNvPr>
            <p:cNvSpPr/>
            <p:nvPr/>
          </p:nvSpPr>
          <p:spPr bwMode="auto">
            <a:xfrm>
              <a:off x="4371403" y="3265244"/>
              <a:ext cx="2252730" cy="588204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Sḻîḍe">
              <a:extLst>
                <a:ext uri="{FF2B5EF4-FFF2-40B4-BE49-F238E27FC236}">
                  <a16:creationId xmlns:a16="http://schemas.microsoft.com/office/drawing/2014/main" id="{D50A2D2E-D4EC-4161-89FB-93DED2FC514C}"/>
                </a:ext>
              </a:extLst>
            </p:cNvPr>
            <p:cNvSpPr/>
            <p:nvPr/>
          </p:nvSpPr>
          <p:spPr bwMode="auto">
            <a:xfrm>
              <a:off x="4371403" y="3853448"/>
              <a:ext cx="2252730" cy="602063"/>
            </a:xfrm>
            <a:prstGeom prst="rect">
              <a:avLst/>
            </a:prstGeom>
            <a:solidFill>
              <a:srgbClr val="D1D3D4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ṩḷiḍe">
              <a:extLst>
                <a:ext uri="{FF2B5EF4-FFF2-40B4-BE49-F238E27FC236}">
                  <a16:creationId xmlns:a16="http://schemas.microsoft.com/office/drawing/2014/main" id="{B71B5E53-51A8-4502-8B8F-362B4C292849}"/>
                </a:ext>
              </a:extLst>
            </p:cNvPr>
            <p:cNvSpPr/>
            <p:nvPr/>
          </p:nvSpPr>
          <p:spPr bwMode="auto">
            <a:xfrm>
              <a:off x="4371403" y="4455510"/>
              <a:ext cx="2252730" cy="562028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şļiḑe">
              <a:extLst>
                <a:ext uri="{FF2B5EF4-FFF2-40B4-BE49-F238E27FC236}">
                  <a16:creationId xmlns:a16="http://schemas.microsoft.com/office/drawing/2014/main" id="{6F340C40-1B82-4ED6-AAD5-16187993F293}"/>
                </a:ext>
              </a:extLst>
            </p:cNvPr>
            <p:cNvSpPr/>
            <p:nvPr/>
          </p:nvSpPr>
          <p:spPr bwMode="auto">
            <a:xfrm>
              <a:off x="4671664" y="3998190"/>
              <a:ext cx="26638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śḷiḋè">
              <a:extLst>
                <a:ext uri="{FF2B5EF4-FFF2-40B4-BE49-F238E27FC236}">
                  <a16:creationId xmlns:a16="http://schemas.microsoft.com/office/drawing/2014/main" id="{632B6619-8603-4CE1-BCCE-06BC2A8A1064}"/>
                </a:ext>
              </a:extLst>
            </p:cNvPr>
            <p:cNvSpPr/>
            <p:nvPr/>
          </p:nvSpPr>
          <p:spPr bwMode="auto">
            <a:xfrm>
              <a:off x="5090490" y="3998190"/>
              <a:ext cx="26638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ṥ1íḋê">
              <a:extLst>
                <a:ext uri="{FF2B5EF4-FFF2-40B4-BE49-F238E27FC236}">
                  <a16:creationId xmlns:a16="http://schemas.microsoft.com/office/drawing/2014/main" id="{0D3AA44A-DC68-4986-B9AA-108A1EDD446A}"/>
                </a:ext>
              </a:extLst>
            </p:cNvPr>
            <p:cNvSpPr/>
            <p:nvPr/>
          </p:nvSpPr>
          <p:spPr bwMode="auto">
            <a:xfrm flipH="1">
              <a:off x="4665505" y="4634127"/>
              <a:ext cx="1650667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$liḓê">
              <a:extLst>
                <a:ext uri="{FF2B5EF4-FFF2-40B4-BE49-F238E27FC236}">
                  <a16:creationId xmlns:a16="http://schemas.microsoft.com/office/drawing/2014/main" id="{077485AB-9550-4FDA-8F3C-65587C6797D0}"/>
                </a:ext>
              </a:extLst>
            </p:cNvPr>
            <p:cNvSpPr/>
            <p:nvPr/>
          </p:nvSpPr>
          <p:spPr bwMode="auto">
            <a:xfrm flipH="1">
              <a:off x="4665505" y="4788107"/>
              <a:ext cx="1650667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îş1ïḓê">
              <a:extLst>
                <a:ext uri="{FF2B5EF4-FFF2-40B4-BE49-F238E27FC236}">
                  <a16:creationId xmlns:a16="http://schemas.microsoft.com/office/drawing/2014/main" id="{1AC9B50D-9F71-4BF3-ADD0-D844D00D9489}"/>
                </a:ext>
              </a:extLst>
            </p:cNvPr>
            <p:cNvSpPr/>
            <p:nvPr/>
          </p:nvSpPr>
          <p:spPr bwMode="auto">
            <a:xfrm>
              <a:off x="631617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sḷíḋe">
              <a:extLst>
                <a:ext uri="{FF2B5EF4-FFF2-40B4-BE49-F238E27FC236}">
                  <a16:creationId xmlns:a16="http://schemas.microsoft.com/office/drawing/2014/main" id="{FB5166D4-273B-4086-A99D-B3A3C6AB7516}"/>
                </a:ext>
              </a:extLst>
            </p:cNvPr>
            <p:cNvSpPr/>
            <p:nvPr/>
          </p:nvSpPr>
          <p:spPr bwMode="auto">
            <a:xfrm>
              <a:off x="6176051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$ḷíḑé">
              <a:extLst>
                <a:ext uri="{FF2B5EF4-FFF2-40B4-BE49-F238E27FC236}">
                  <a16:creationId xmlns:a16="http://schemas.microsoft.com/office/drawing/2014/main" id="{D8F3E09D-BEA5-4758-AD0E-276D6C889598}"/>
                </a:ext>
              </a:extLst>
            </p:cNvPr>
            <p:cNvSpPr/>
            <p:nvPr/>
          </p:nvSpPr>
          <p:spPr bwMode="auto">
            <a:xfrm>
              <a:off x="5997434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šḻîdê">
              <a:extLst>
                <a:ext uri="{FF2B5EF4-FFF2-40B4-BE49-F238E27FC236}">
                  <a16:creationId xmlns:a16="http://schemas.microsoft.com/office/drawing/2014/main" id="{B9D20E06-B2F3-4E95-B89F-F4BADD5616F9}"/>
                </a:ext>
              </a:extLst>
            </p:cNvPr>
            <p:cNvSpPr/>
            <p:nvPr/>
          </p:nvSpPr>
          <p:spPr bwMode="auto">
            <a:xfrm>
              <a:off x="585577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ṣlïḍe">
              <a:extLst>
                <a:ext uri="{FF2B5EF4-FFF2-40B4-BE49-F238E27FC236}">
                  <a16:creationId xmlns:a16="http://schemas.microsoft.com/office/drawing/2014/main" id="{50DB9CA1-359A-44F3-9BA4-D6863B0109B3}"/>
                </a:ext>
              </a:extLst>
            </p:cNvPr>
            <p:cNvSpPr/>
            <p:nvPr/>
          </p:nvSpPr>
          <p:spPr bwMode="auto">
            <a:xfrm>
              <a:off x="570179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ŝlîḍé">
              <a:extLst>
                <a:ext uri="{FF2B5EF4-FFF2-40B4-BE49-F238E27FC236}">
                  <a16:creationId xmlns:a16="http://schemas.microsoft.com/office/drawing/2014/main" id="{7D05E236-B514-4EEA-B634-A4C5EDD0491B}"/>
                </a:ext>
              </a:extLst>
            </p:cNvPr>
            <p:cNvSpPr/>
            <p:nvPr/>
          </p:nvSpPr>
          <p:spPr bwMode="auto">
            <a:xfrm flipH="1">
              <a:off x="5178260" y="4109055"/>
              <a:ext cx="113946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ṡļïḋe">
              <a:extLst>
                <a:ext uri="{FF2B5EF4-FFF2-40B4-BE49-F238E27FC236}">
                  <a16:creationId xmlns:a16="http://schemas.microsoft.com/office/drawing/2014/main" id="{99C9A112-A17D-4D6A-96C2-E112E757AB5C}"/>
                </a:ext>
              </a:extLst>
            </p:cNvPr>
            <p:cNvSpPr/>
            <p:nvPr/>
          </p:nvSpPr>
          <p:spPr bwMode="auto">
            <a:xfrm flipH="1">
              <a:off x="4780991" y="4109055"/>
              <a:ext cx="76990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ślide">
              <a:extLst>
                <a:ext uri="{FF2B5EF4-FFF2-40B4-BE49-F238E27FC236}">
                  <a16:creationId xmlns:a16="http://schemas.microsoft.com/office/drawing/2014/main" id="{B20D027A-5B23-4E5D-9D93-53B8734058E6}"/>
                </a:ext>
              </a:extLst>
            </p:cNvPr>
            <p:cNvSpPr/>
            <p:nvPr/>
          </p:nvSpPr>
          <p:spPr bwMode="auto">
            <a:xfrm>
              <a:off x="4704001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ṥḷîďê">
              <a:extLst>
                <a:ext uri="{FF2B5EF4-FFF2-40B4-BE49-F238E27FC236}">
                  <a16:creationId xmlns:a16="http://schemas.microsoft.com/office/drawing/2014/main" id="{CD11E23A-03D5-4747-AFCA-13C0CA5249F5}"/>
                </a:ext>
              </a:extLst>
            </p:cNvPr>
            <p:cNvSpPr/>
            <p:nvPr/>
          </p:nvSpPr>
          <p:spPr bwMode="auto">
            <a:xfrm>
              <a:off x="4857980" y="3445400"/>
              <a:ext cx="50814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isḻide">
              <a:extLst>
                <a:ext uri="{FF2B5EF4-FFF2-40B4-BE49-F238E27FC236}">
                  <a16:creationId xmlns:a16="http://schemas.microsoft.com/office/drawing/2014/main" id="{AFA7044F-42BE-464D-8D73-50FB5F5A5439}"/>
                </a:ext>
              </a:extLst>
            </p:cNvPr>
            <p:cNvSpPr/>
            <p:nvPr/>
          </p:nvSpPr>
          <p:spPr bwMode="auto">
            <a:xfrm>
              <a:off x="4985784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şḷîḍé">
              <a:extLst>
                <a:ext uri="{FF2B5EF4-FFF2-40B4-BE49-F238E27FC236}">
                  <a16:creationId xmlns:a16="http://schemas.microsoft.com/office/drawing/2014/main" id="{B3119D28-0A46-4DF2-8DFD-8C340CF87236}"/>
                </a:ext>
              </a:extLst>
            </p:cNvPr>
            <p:cNvSpPr/>
            <p:nvPr/>
          </p:nvSpPr>
          <p:spPr bwMode="auto">
            <a:xfrm>
              <a:off x="5139764" y="3445400"/>
              <a:ext cx="113946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ṧḷiḍe">
              <a:extLst>
                <a:ext uri="{FF2B5EF4-FFF2-40B4-BE49-F238E27FC236}">
                  <a16:creationId xmlns:a16="http://schemas.microsoft.com/office/drawing/2014/main" id="{8F8FAD8F-BA93-4B4C-B5F8-3489F18C6482}"/>
                </a:ext>
              </a:extLst>
            </p:cNvPr>
            <p:cNvSpPr/>
            <p:nvPr/>
          </p:nvSpPr>
          <p:spPr bwMode="auto">
            <a:xfrm>
              <a:off x="5330699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śļïďê">
              <a:extLst>
                <a:ext uri="{FF2B5EF4-FFF2-40B4-BE49-F238E27FC236}">
                  <a16:creationId xmlns:a16="http://schemas.microsoft.com/office/drawing/2014/main" id="{A0632DDE-F2D3-4FC3-B6ED-3682DEF23C37}"/>
                </a:ext>
              </a:extLst>
            </p:cNvPr>
            <p:cNvSpPr/>
            <p:nvPr/>
          </p:nvSpPr>
          <p:spPr bwMode="auto">
            <a:xfrm flipH="1">
              <a:off x="5496997" y="3457719"/>
              <a:ext cx="896165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šļiḑê">
              <a:extLst>
                <a:ext uri="{FF2B5EF4-FFF2-40B4-BE49-F238E27FC236}">
                  <a16:creationId xmlns:a16="http://schemas.microsoft.com/office/drawing/2014/main" id="{C34CCCFA-AD9A-4B28-B4D0-F48717DA0929}"/>
                </a:ext>
              </a:extLst>
            </p:cNvPr>
            <p:cNvSpPr/>
            <p:nvPr/>
          </p:nvSpPr>
          <p:spPr bwMode="auto">
            <a:xfrm flipH="1">
              <a:off x="5496997" y="3624018"/>
              <a:ext cx="896165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$ḷíḍè">
              <a:extLst>
                <a:ext uri="{FF2B5EF4-FFF2-40B4-BE49-F238E27FC236}">
                  <a16:creationId xmlns:a16="http://schemas.microsoft.com/office/drawing/2014/main" id="{DEE63273-6CA7-4864-AF09-40F2AD2F29B6}"/>
                </a:ext>
              </a:extLst>
            </p:cNvPr>
            <p:cNvSpPr/>
            <p:nvPr/>
          </p:nvSpPr>
          <p:spPr bwMode="auto">
            <a:xfrm>
              <a:off x="2566756" y="3534708"/>
              <a:ext cx="421905" cy="920801"/>
            </a:xfrm>
            <a:prstGeom prst="rect">
              <a:avLst/>
            </a:prstGeom>
            <a:solidFill>
              <a:srgbClr val="FFFFFF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ṧľíḋè">
              <a:extLst>
                <a:ext uri="{FF2B5EF4-FFF2-40B4-BE49-F238E27FC236}">
                  <a16:creationId xmlns:a16="http://schemas.microsoft.com/office/drawing/2014/main" id="{5FA467AF-E4B8-40A7-B3FA-3F636AAD7B12}"/>
                </a:ext>
              </a:extLst>
            </p:cNvPr>
            <p:cNvSpPr/>
            <p:nvPr/>
          </p:nvSpPr>
          <p:spPr bwMode="auto">
            <a:xfrm>
              <a:off x="4396040" y="295882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Sḷîḋè">
              <a:extLst>
                <a:ext uri="{FF2B5EF4-FFF2-40B4-BE49-F238E27FC236}">
                  <a16:creationId xmlns:a16="http://schemas.microsoft.com/office/drawing/2014/main" id="{572AF547-437C-48B3-BAF2-68C82EB2FFFE}"/>
                </a:ext>
              </a:extLst>
            </p:cNvPr>
            <p:cNvSpPr/>
            <p:nvPr/>
          </p:nvSpPr>
          <p:spPr bwMode="auto">
            <a:xfrm>
              <a:off x="4396040" y="2958823"/>
              <a:ext cx="0" cy="0"/>
            </a:xfrm>
            <a:prstGeom prst="line">
              <a:avLst/>
            </a:prstGeom>
            <a:noFill/>
            <a:ln w="76200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69" name="ís1îḍé">
            <a:extLst>
              <a:ext uri="{FF2B5EF4-FFF2-40B4-BE49-F238E27FC236}">
                <a16:creationId xmlns:a16="http://schemas.microsoft.com/office/drawing/2014/main" id="{C618B5D6-C43D-44DE-B9CE-B6C2EC84DD85}"/>
              </a:ext>
            </a:extLst>
          </p:cNvPr>
          <p:cNvSpPr/>
          <p:nvPr/>
        </p:nvSpPr>
        <p:spPr bwMode="auto">
          <a:xfrm>
            <a:off x="4386802" y="1936395"/>
            <a:ext cx="2403630" cy="1034747"/>
          </a:xfrm>
          <a:custGeom>
            <a:avLst/>
            <a:gdLst>
              <a:gd name="T0" fmla="*/ 607 w 751"/>
              <a:gd name="T1" fmla="*/ 177 h 324"/>
              <a:gd name="T2" fmla="*/ 525 w 751"/>
              <a:gd name="T3" fmla="*/ 202 h 324"/>
              <a:gd name="T4" fmla="*/ 462 w 751"/>
              <a:gd name="T5" fmla="*/ 166 h 324"/>
              <a:gd name="T6" fmla="*/ 464 w 751"/>
              <a:gd name="T7" fmla="*/ 145 h 324"/>
              <a:gd name="T8" fmla="*/ 319 w 751"/>
              <a:gd name="T9" fmla="*/ 0 h 324"/>
              <a:gd name="T10" fmla="*/ 174 w 751"/>
              <a:gd name="T11" fmla="*/ 145 h 324"/>
              <a:gd name="T12" fmla="*/ 178 w 751"/>
              <a:gd name="T13" fmla="*/ 179 h 324"/>
              <a:gd name="T14" fmla="*/ 145 w 751"/>
              <a:gd name="T15" fmla="*/ 177 h 324"/>
              <a:gd name="T16" fmla="*/ 0 w 751"/>
              <a:gd name="T17" fmla="*/ 324 h 324"/>
              <a:gd name="T18" fmla="*/ 751 w 751"/>
              <a:gd name="T19" fmla="*/ 324 h 324"/>
              <a:gd name="T20" fmla="*/ 607 w 751"/>
              <a:gd name="T21" fmla="*/ 177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51" h="324">
                <a:moveTo>
                  <a:pt x="607" y="177"/>
                </a:moveTo>
                <a:cubicBezTo>
                  <a:pt x="576" y="177"/>
                  <a:pt x="548" y="186"/>
                  <a:pt x="525" y="202"/>
                </a:cubicBezTo>
                <a:cubicBezTo>
                  <a:pt x="509" y="184"/>
                  <a:pt x="487" y="171"/>
                  <a:pt x="462" y="166"/>
                </a:cubicBezTo>
                <a:cubicBezTo>
                  <a:pt x="463" y="160"/>
                  <a:pt x="464" y="152"/>
                  <a:pt x="464" y="145"/>
                </a:cubicBezTo>
                <a:cubicBezTo>
                  <a:pt x="464" y="65"/>
                  <a:pt x="399" y="0"/>
                  <a:pt x="319" y="0"/>
                </a:cubicBezTo>
                <a:cubicBezTo>
                  <a:pt x="239" y="0"/>
                  <a:pt x="174" y="65"/>
                  <a:pt x="174" y="145"/>
                </a:cubicBezTo>
                <a:cubicBezTo>
                  <a:pt x="174" y="157"/>
                  <a:pt x="176" y="168"/>
                  <a:pt x="178" y="179"/>
                </a:cubicBezTo>
                <a:cubicBezTo>
                  <a:pt x="168" y="176"/>
                  <a:pt x="157" y="177"/>
                  <a:pt x="145" y="177"/>
                </a:cubicBezTo>
                <a:cubicBezTo>
                  <a:pt x="65" y="177"/>
                  <a:pt x="0" y="236"/>
                  <a:pt x="0" y="324"/>
                </a:cubicBezTo>
                <a:cubicBezTo>
                  <a:pt x="751" y="324"/>
                  <a:pt x="751" y="324"/>
                  <a:pt x="751" y="324"/>
                </a:cubicBezTo>
                <a:cubicBezTo>
                  <a:pt x="751" y="236"/>
                  <a:pt x="687" y="177"/>
                  <a:pt x="607" y="1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649855" y="3393430"/>
            <a:ext cx="4791228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650971" y="4288780"/>
            <a:ext cx="4791228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E01F0E8-9AAA-4BCE-825C-9859C01BB92B}"/>
              </a:ext>
            </a:extLst>
          </p:cNvPr>
          <p:cNvGrpSpPr/>
          <p:nvPr userDrawn="1"/>
        </p:nvGrpSpPr>
        <p:grpSpPr>
          <a:xfrm>
            <a:off x="6925844" y="2648481"/>
            <a:ext cx="4130589" cy="2359609"/>
            <a:chOff x="6407296" y="2165825"/>
            <a:chExt cx="4992037" cy="2851713"/>
          </a:xfrm>
        </p:grpSpPr>
        <p:sp>
          <p:nvSpPr>
            <p:cNvPr id="70" name="ïṧľïḋé">
              <a:extLst>
                <a:ext uri="{FF2B5EF4-FFF2-40B4-BE49-F238E27FC236}">
                  <a16:creationId xmlns:a16="http://schemas.microsoft.com/office/drawing/2014/main" id="{543C20B6-2710-490C-969D-0F67B7F4D0AD}"/>
                </a:ext>
              </a:extLst>
            </p:cNvPr>
            <p:cNvSpPr/>
            <p:nvPr/>
          </p:nvSpPr>
          <p:spPr bwMode="auto">
            <a:xfrm>
              <a:off x="7405088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ṥ1iďe">
              <a:extLst>
                <a:ext uri="{FF2B5EF4-FFF2-40B4-BE49-F238E27FC236}">
                  <a16:creationId xmlns:a16="http://schemas.microsoft.com/office/drawing/2014/main" id="{D8F65739-3D97-408A-A4BD-183BBF23DF9B}"/>
                </a:ext>
              </a:extLst>
            </p:cNvPr>
            <p:cNvSpPr/>
            <p:nvPr/>
          </p:nvSpPr>
          <p:spPr bwMode="auto">
            <a:xfrm>
              <a:off x="7264966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sḻîdé">
              <a:extLst>
                <a:ext uri="{FF2B5EF4-FFF2-40B4-BE49-F238E27FC236}">
                  <a16:creationId xmlns:a16="http://schemas.microsoft.com/office/drawing/2014/main" id="{9C0DDEE3-37F9-433E-A965-80703DEF72D6}"/>
                </a:ext>
              </a:extLst>
            </p:cNvPr>
            <p:cNvSpPr/>
            <p:nvPr/>
          </p:nvSpPr>
          <p:spPr bwMode="auto">
            <a:xfrm>
              <a:off x="7123305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Sḷíḍê">
              <a:extLst>
                <a:ext uri="{FF2B5EF4-FFF2-40B4-BE49-F238E27FC236}">
                  <a16:creationId xmlns:a16="http://schemas.microsoft.com/office/drawing/2014/main" id="{B4123401-EE11-44DD-ADF7-BF37903DF7CE}"/>
                </a:ext>
              </a:extLst>
            </p:cNvPr>
            <p:cNvSpPr/>
            <p:nvPr/>
          </p:nvSpPr>
          <p:spPr bwMode="auto">
            <a:xfrm>
              <a:off x="6689080" y="2165825"/>
              <a:ext cx="3583118" cy="2506797"/>
            </a:xfrm>
            <a:custGeom>
              <a:avLst/>
              <a:gdLst>
                <a:gd name="T0" fmla="*/ 1120 w 1120"/>
                <a:gd name="T1" fmla="*/ 47 h 784"/>
                <a:gd name="T2" fmla="*/ 1067 w 1120"/>
                <a:gd name="T3" fmla="*/ 0 h 784"/>
                <a:gd name="T4" fmla="*/ 54 w 1120"/>
                <a:gd name="T5" fmla="*/ 0 h 784"/>
                <a:gd name="T6" fmla="*/ 0 w 1120"/>
                <a:gd name="T7" fmla="*/ 47 h 784"/>
                <a:gd name="T8" fmla="*/ 0 w 1120"/>
                <a:gd name="T9" fmla="*/ 784 h 784"/>
                <a:gd name="T10" fmla="*/ 1120 w 1120"/>
                <a:gd name="T11" fmla="*/ 784 h 784"/>
                <a:gd name="T12" fmla="*/ 1120 w 1120"/>
                <a:gd name="T13" fmla="*/ 4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0" h="784">
                  <a:moveTo>
                    <a:pt x="1120" y="47"/>
                  </a:moveTo>
                  <a:cubicBezTo>
                    <a:pt x="1120" y="19"/>
                    <a:pt x="1096" y="0"/>
                    <a:pt x="106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6" y="0"/>
                    <a:pt x="0" y="19"/>
                    <a:pt x="0" y="47"/>
                  </a:cubicBezTo>
                  <a:cubicBezTo>
                    <a:pt x="0" y="784"/>
                    <a:pt x="0" y="784"/>
                    <a:pt x="0" y="784"/>
                  </a:cubicBezTo>
                  <a:cubicBezTo>
                    <a:pt x="1120" y="784"/>
                    <a:pt x="1120" y="784"/>
                    <a:pt x="1120" y="784"/>
                  </a:cubicBezTo>
                  <a:lnTo>
                    <a:pt x="1120" y="47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$1îḑê">
              <a:extLst>
                <a:ext uri="{FF2B5EF4-FFF2-40B4-BE49-F238E27FC236}">
                  <a16:creationId xmlns:a16="http://schemas.microsoft.com/office/drawing/2014/main" id="{7C8D95A4-7FE8-4F92-8068-38E15D67286B}"/>
                </a:ext>
              </a:extLst>
            </p:cNvPr>
            <p:cNvSpPr/>
            <p:nvPr/>
          </p:nvSpPr>
          <p:spPr bwMode="auto">
            <a:xfrm>
              <a:off x="6407296" y="4672622"/>
              <a:ext cx="4146685" cy="344916"/>
            </a:xfrm>
            <a:custGeom>
              <a:avLst/>
              <a:gdLst>
                <a:gd name="T0" fmla="*/ 0 w 1296"/>
                <a:gd name="T1" fmla="*/ 0 h 108"/>
                <a:gd name="T2" fmla="*/ 0 w 1296"/>
                <a:gd name="T3" fmla="*/ 57 h 108"/>
                <a:gd name="T4" fmla="*/ 66 w 1296"/>
                <a:gd name="T5" fmla="*/ 108 h 108"/>
                <a:gd name="T6" fmla="*/ 1232 w 1296"/>
                <a:gd name="T7" fmla="*/ 108 h 108"/>
                <a:gd name="T8" fmla="*/ 1296 w 1296"/>
                <a:gd name="T9" fmla="*/ 57 h 108"/>
                <a:gd name="T10" fmla="*/ 1296 w 1296"/>
                <a:gd name="T11" fmla="*/ 0 h 108"/>
                <a:gd name="T12" fmla="*/ 0 w 1296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6" h="108">
                  <a:moveTo>
                    <a:pt x="0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0" y="85"/>
                    <a:pt x="33" y="108"/>
                    <a:pt x="66" y="108"/>
                  </a:cubicBezTo>
                  <a:cubicBezTo>
                    <a:pt x="1232" y="108"/>
                    <a:pt x="1232" y="108"/>
                    <a:pt x="1232" y="108"/>
                  </a:cubicBezTo>
                  <a:cubicBezTo>
                    <a:pt x="1265" y="108"/>
                    <a:pt x="1296" y="85"/>
                    <a:pt x="1296" y="57"/>
                  </a:cubicBezTo>
                  <a:cubicBezTo>
                    <a:pt x="1296" y="0"/>
                    <a:pt x="1296" y="0"/>
                    <a:pt x="129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1F2F2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šḻidê">
              <a:extLst>
                <a:ext uri="{FF2B5EF4-FFF2-40B4-BE49-F238E27FC236}">
                  <a16:creationId xmlns:a16="http://schemas.microsoft.com/office/drawing/2014/main" id="{591A656A-0455-4680-8733-3F4DFF0C137E}"/>
                </a:ext>
              </a:extLst>
            </p:cNvPr>
            <p:cNvSpPr/>
            <p:nvPr/>
          </p:nvSpPr>
          <p:spPr bwMode="auto">
            <a:xfrm>
              <a:off x="6918510" y="2358300"/>
              <a:ext cx="3124257" cy="209721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ṧļîḑè">
              <a:extLst>
                <a:ext uri="{FF2B5EF4-FFF2-40B4-BE49-F238E27FC236}">
                  <a16:creationId xmlns:a16="http://schemas.microsoft.com/office/drawing/2014/main" id="{134385CB-CEA0-4893-B379-26C2657040C0}"/>
                </a:ext>
              </a:extLst>
            </p:cNvPr>
            <p:cNvSpPr/>
            <p:nvPr/>
          </p:nvSpPr>
          <p:spPr bwMode="auto">
            <a:xfrm>
              <a:off x="8288934" y="4863558"/>
              <a:ext cx="409588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şľíde">
              <a:extLst>
                <a:ext uri="{FF2B5EF4-FFF2-40B4-BE49-F238E27FC236}">
                  <a16:creationId xmlns:a16="http://schemas.microsoft.com/office/drawing/2014/main" id="{A89839BA-AA13-4963-A0BE-99DEB45A9E9C}"/>
                </a:ext>
              </a:extLst>
            </p:cNvPr>
            <p:cNvSpPr/>
            <p:nvPr/>
          </p:nvSpPr>
          <p:spPr bwMode="auto">
            <a:xfrm>
              <a:off x="9505377" y="2613907"/>
              <a:ext cx="294103" cy="5112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ṡľiďé">
              <a:extLst>
                <a:ext uri="{FF2B5EF4-FFF2-40B4-BE49-F238E27FC236}">
                  <a16:creationId xmlns:a16="http://schemas.microsoft.com/office/drawing/2014/main" id="{DD636B26-AE69-4480-B260-B46D59D1C204}"/>
                </a:ext>
              </a:extLst>
            </p:cNvPr>
            <p:cNvSpPr/>
            <p:nvPr/>
          </p:nvSpPr>
          <p:spPr bwMode="auto">
            <a:xfrm>
              <a:off x="7200294" y="2613907"/>
              <a:ext cx="2151103" cy="5112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ṩľíde">
              <a:extLst>
                <a:ext uri="{FF2B5EF4-FFF2-40B4-BE49-F238E27FC236}">
                  <a16:creationId xmlns:a16="http://schemas.microsoft.com/office/drawing/2014/main" id="{EC491719-A994-43D9-A794-2BB682D2AD61}"/>
                </a:ext>
              </a:extLst>
            </p:cNvPr>
            <p:cNvSpPr/>
            <p:nvPr/>
          </p:nvSpPr>
          <p:spPr bwMode="auto">
            <a:xfrm>
              <a:off x="7200294" y="3265244"/>
              <a:ext cx="589745" cy="5127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ş1iḋe">
              <a:extLst>
                <a:ext uri="{FF2B5EF4-FFF2-40B4-BE49-F238E27FC236}">
                  <a16:creationId xmlns:a16="http://schemas.microsoft.com/office/drawing/2014/main" id="{34573BE3-5D71-4572-A9B0-1B514AA1D204}"/>
                </a:ext>
              </a:extLst>
            </p:cNvPr>
            <p:cNvSpPr/>
            <p:nvPr/>
          </p:nvSpPr>
          <p:spPr bwMode="auto">
            <a:xfrm>
              <a:off x="7903983" y="3265244"/>
              <a:ext cx="1844682" cy="5127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s1iďè">
              <a:extLst>
                <a:ext uri="{FF2B5EF4-FFF2-40B4-BE49-F238E27FC236}">
                  <a16:creationId xmlns:a16="http://schemas.microsoft.com/office/drawing/2014/main" id="{B284FBA8-3E2C-4BC7-A299-858224FAA08A}"/>
                </a:ext>
              </a:extLst>
            </p:cNvPr>
            <p:cNvSpPr/>
            <p:nvPr/>
          </p:nvSpPr>
          <p:spPr bwMode="auto">
            <a:xfrm>
              <a:off x="7200294" y="3944296"/>
              <a:ext cx="2548372" cy="2417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iSļîďè">
              <a:extLst>
                <a:ext uri="{FF2B5EF4-FFF2-40B4-BE49-F238E27FC236}">
                  <a16:creationId xmlns:a16="http://schemas.microsoft.com/office/drawing/2014/main" id="{CDC7EE28-38A2-4645-BB11-4858ACFFFC2D}"/>
                </a:ext>
              </a:extLst>
            </p:cNvPr>
            <p:cNvSpPr/>
            <p:nvPr/>
          </p:nvSpPr>
          <p:spPr bwMode="auto">
            <a:xfrm>
              <a:off x="9146603" y="3265244"/>
              <a:ext cx="2252730" cy="588204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ṩ1ïḑe">
              <a:extLst>
                <a:ext uri="{FF2B5EF4-FFF2-40B4-BE49-F238E27FC236}">
                  <a16:creationId xmlns:a16="http://schemas.microsoft.com/office/drawing/2014/main" id="{F859E8D9-FC79-4CFB-BCC1-8DB0B2CE0C21}"/>
                </a:ext>
              </a:extLst>
            </p:cNvPr>
            <p:cNvSpPr/>
            <p:nvPr/>
          </p:nvSpPr>
          <p:spPr bwMode="auto">
            <a:xfrm>
              <a:off x="9146603" y="3853448"/>
              <a:ext cx="2252730" cy="602063"/>
            </a:xfrm>
            <a:prstGeom prst="rect">
              <a:avLst/>
            </a:prstGeom>
            <a:solidFill>
              <a:srgbClr val="D1D3D4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ṧḻiďé">
              <a:extLst>
                <a:ext uri="{FF2B5EF4-FFF2-40B4-BE49-F238E27FC236}">
                  <a16:creationId xmlns:a16="http://schemas.microsoft.com/office/drawing/2014/main" id="{F67955B2-4083-4180-9BE6-B08B9706A1A3}"/>
                </a:ext>
              </a:extLst>
            </p:cNvPr>
            <p:cNvSpPr/>
            <p:nvPr/>
          </p:nvSpPr>
          <p:spPr bwMode="auto">
            <a:xfrm>
              <a:off x="9146603" y="4455510"/>
              <a:ext cx="2252730" cy="562028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$ḷîḋé">
              <a:extLst>
                <a:ext uri="{FF2B5EF4-FFF2-40B4-BE49-F238E27FC236}">
                  <a16:creationId xmlns:a16="http://schemas.microsoft.com/office/drawing/2014/main" id="{27A4ADD4-386A-42B6-B790-D9F4F10BD4DC}"/>
                </a:ext>
              </a:extLst>
            </p:cNvPr>
            <p:cNvSpPr/>
            <p:nvPr/>
          </p:nvSpPr>
          <p:spPr bwMode="auto">
            <a:xfrm>
              <a:off x="9446864" y="3998190"/>
              <a:ext cx="26638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śḷíḋê">
              <a:extLst>
                <a:ext uri="{FF2B5EF4-FFF2-40B4-BE49-F238E27FC236}">
                  <a16:creationId xmlns:a16="http://schemas.microsoft.com/office/drawing/2014/main" id="{966009AA-E8C4-4873-93EB-158B2ADA0E2C}"/>
                </a:ext>
              </a:extLst>
            </p:cNvPr>
            <p:cNvSpPr/>
            <p:nvPr/>
          </p:nvSpPr>
          <p:spPr bwMode="auto">
            <a:xfrm>
              <a:off x="9865690" y="3998190"/>
              <a:ext cx="26638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şľidê">
              <a:extLst>
                <a:ext uri="{FF2B5EF4-FFF2-40B4-BE49-F238E27FC236}">
                  <a16:creationId xmlns:a16="http://schemas.microsoft.com/office/drawing/2014/main" id="{34D14B7F-20C6-42C7-9E64-0F0D914DC20C}"/>
                </a:ext>
              </a:extLst>
            </p:cNvPr>
            <p:cNvSpPr/>
            <p:nvPr/>
          </p:nvSpPr>
          <p:spPr bwMode="auto">
            <a:xfrm flipH="1">
              <a:off x="9440705" y="4634127"/>
              <a:ext cx="1650667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ṧľïdé">
              <a:extLst>
                <a:ext uri="{FF2B5EF4-FFF2-40B4-BE49-F238E27FC236}">
                  <a16:creationId xmlns:a16="http://schemas.microsoft.com/office/drawing/2014/main" id="{DF10F3E1-B216-4EA8-AC2D-C3AB321C4111}"/>
                </a:ext>
              </a:extLst>
            </p:cNvPr>
            <p:cNvSpPr/>
            <p:nvPr/>
          </p:nvSpPr>
          <p:spPr bwMode="auto">
            <a:xfrm flipH="1">
              <a:off x="9440705" y="4788107"/>
              <a:ext cx="1650667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ṥľïḑè">
              <a:extLst>
                <a:ext uri="{FF2B5EF4-FFF2-40B4-BE49-F238E27FC236}">
                  <a16:creationId xmlns:a16="http://schemas.microsoft.com/office/drawing/2014/main" id="{C3588FC3-5249-4597-883F-EEE1D7026F47}"/>
                </a:ext>
              </a:extLst>
            </p:cNvPr>
            <p:cNvSpPr/>
            <p:nvPr/>
          </p:nvSpPr>
          <p:spPr bwMode="auto">
            <a:xfrm>
              <a:off x="1109137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š1íḓê">
              <a:extLst>
                <a:ext uri="{FF2B5EF4-FFF2-40B4-BE49-F238E27FC236}">
                  <a16:creationId xmlns:a16="http://schemas.microsoft.com/office/drawing/2014/main" id="{2A5283F7-1E1B-4652-B339-4FA69686A265}"/>
                </a:ext>
              </a:extLst>
            </p:cNvPr>
            <p:cNvSpPr/>
            <p:nvPr/>
          </p:nvSpPr>
          <p:spPr bwMode="auto">
            <a:xfrm>
              <a:off x="10951251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îṩḻïḋé">
              <a:extLst>
                <a:ext uri="{FF2B5EF4-FFF2-40B4-BE49-F238E27FC236}">
                  <a16:creationId xmlns:a16="http://schemas.microsoft.com/office/drawing/2014/main" id="{1572528A-5F78-4D0B-9F10-B591CD01E849}"/>
                </a:ext>
              </a:extLst>
            </p:cNvPr>
            <p:cNvSpPr/>
            <p:nvPr/>
          </p:nvSpPr>
          <p:spPr bwMode="auto">
            <a:xfrm>
              <a:off x="10772634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sliḓé">
              <a:extLst>
                <a:ext uri="{FF2B5EF4-FFF2-40B4-BE49-F238E27FC236}">
                  <a16:creationId xmlns:a16="http://schemas.microsoft.com/office/drawing/2014/main" id="{B62E1B8B-2AE8-4070-9482-5D75D32406DF}"/>
                </a:ext>
              </a:extLst>
            </p:cNvPr>
            <p:cNvSpPr/>
            <p:nvPr/>
          </p:nvSpPr>
          <p:spPr bwMode="auto">
            <a:xfrm>
              <a:off x="1063097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ṩḷïde">
              <a:extLst>
                <a:ext uri="{FF2B5EF4-FFF2-40B4-BE49-F238E27FC236}">
                  <a16:creationId xmlns:a16="http://schemas.microsoft.com/office/drawing/2014/main" id="{4C4A266E-FE24-44E0-A19D-E4220D3BB503}"/>
                </a:ext>
              </a:extLst>
            </p:cNvPr>
            <p:cNvSpPr/>
            <p:nvPr/>
          </p:nvSpPr>
          <p:spPr bwMode="auto">
            <a:xfrm>
              <a:off x="1047699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ṩ1iḑé">
              <a:extLst>
                <a:ext uri="{FF2B5EF4-FFF2-40B4-BE49-F238E27FC236}">
                  <a16:creationId xmlns:a16="http://schemas.microsoft.com/office/drawing/2014/main" id="{BF7DA918-DA40-4E6B-999C-5A6DCD71739F}"/>
                </a:ext>
              </a:extLst>
            </p:cNvPr>
            <p:cNvSpPr/>
            <p:nvPr/>
          </p:nvSpPr>
          <p:spPr bwMode="auto">
            <a:xfrm flipH="1">
              <a:off x="9953460" y="4109055"/>
              <a:ext cx="113946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ṩļídè">
              <a:extLst>
                <a:ext uri="{FF2B5EF4-FFF2-40B4-BE49-F238E27FC236}">
                  <a16:creationId xmlns:a16="http://schemas.microsoft.com/office/drawing/2014/main" id="{60B989A4-2182-4526-B321-9E0838FB8A5A}"/>
                </a:ext>
              </a:extLst>
            </p:cNvPr>
            <p:cNvSpPr/>
            <p:nvPr/>
          </p:nvSpPr>
          <p:spPr bwMode="auto">
            <a:xfrm flipH="1">
              <a:off x="9556191" y="4109055"/>
              <a:ext cx="76990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ïšlîḍé">
              <a:extLst>
                <a:ext uri="{FF2B5EF4-FFF2-40B4-BE49-F238E27FC236}">
                  <a16:creationId xmlns:a16="http://schemas.microsoft.com/office/drawing/2014/main" id="{2F707908-4352-4E50-B47D-A55A7D37E8E0}"/>
                </a:ext>
              </a:extLst>
            </p:cNvPr>
            <p:cNvSpPr/>
            <p:nvPr/>
          </p:nvSpPr>
          <p:spPr bwMode="auto">
            <a:xfrm>
              <a:off x="9479201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śľïḋê">
              <a:extLst>
                <a:ext uri="{FF2B5EF4-FFF2-40B4-BE49-F238E27FC236}">
                  <a16:creationId xmlns:a16="http://schemas.microsoft.com/office/drawing/2014/main" id="{31A929B7-8B33-40F0-AE1E-6B412A6DEE26}"/>
                </a:ext>
              </a:extLst>
            </p:cNvPr>
            <p:cNvSpPr/>
            <p:nvPr/>
          </p:nvSpPr>
          <p:spPr bwMode="auto">
            <a:xfrm>
              <a:off x="9633180" y="3445400"/>
              <a:ext cx="50814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šḷïďe">
              <a:extLst>
                <a:ext uri="{FF2B5EF4-FFF2-40B4-BE49-F238E27FC236}">
                  <a16:creationId xmlns:a16="http://schemas.microsoft.com/office/drawing/2014/main" id="{33C92D77-E8DA-4205-B2CD-F7CCC62A7C4A}"/>
                </a:ext>
              </a:extLst>
            </p:cNvPr>
            <p:cNvSpPr/>
            <p:nvPr/>
          </p:nvSpPr>
          <p:spPr bwMode="auto">
            <a:xfrm>
              <a:off x="9760984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î$ḻide">
              <a:extLst>
                <a:ext uri="{FF2B5EF4-FFF2-40B4-BE49-F238E27FC236}">
                  <a16:creationId xmlns:a16="http://schemas.microsoft.com/office/drawing/2014/main" id="{A343B768-DA05-44BF-BF4E-F2E9925C4EC6}"/>
                </a:ext>
              </a:extLst>
            </p:cNvPr>
            <p:cNvSpPr/>
            <p:nvPr/>
          </p:nvSpPr>
          <p:spPr bwMode="auto">
            <a:xfrm>
              <a:off x="9914964" y="3445400"/>
              <a:ext cx="113946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ṥḷiďê">
              <a:extLst>
                <a:ext uri="{FF2B5EF4-FFF2-40B4-BE49-F238E27FC236}">
                  <a16:creationId xmlns:a16="http://schemas.microsoft.com/office/drawing/2014/main" id="{C9DF5B73-80BD-402A-84D2-D2F32FEA79EC}"/>
                </a:ext>
              </a:extLst>
            </p:cNvPr>
            <p:cNvSpPr/>
            <p:nvPr/>
          </p:nvSpPr>
          <p:spPr bwMode="auto">
            <a:xfrm>
              <a:off x="10105899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ṡḻïḋê">
              <a:extLst>
                <a:ext uri="{FF2B5EF4-FFF2-40B4-BE49-F238E27FC236}">
                  <a16:creationId xmlns:a16="http://schemas.microsoft.com/office/drawing/2014/main" id="{3A7B0D95-EAF3-4293-AA02-3EE8CF09DC12}"/>
                </a:ext>
              </a:extLst>
            </p:cNvPr>
            <p:cNvSpPr/>
            <p:nvPr/>
          </p:nvSpPr>
          <p:spPr bwMode="auto">
            <a:xfrm flipH="1">
              <a:off x="10272197" y="3457719"/>
              <a:ext cx="896165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śḻiďê">
              <a:extLst>
                <a:ext uri="{FF2B5EF4-FFF2-40B4-BE49-F238E27FC236}">
                  <a16:creationId xmlns:a16="http://schemas.microsoft.com/office/drawing/2014/main" id="{C19FAD79-BD76-419A-BDA8-2137ABBF226D}"/>
                </a:ext>
              </a:extLst>
            </p:cNvPr>
            <p:cNvSpPr/>
            <p:nvPr/>
          </p:nvSpPr>
          <p:spPr bwMode="auto">
            <a:xfrm flipH="1">
              <a:off x="10272197" y="3624018"/>
              <a:ext cx="896165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ṩlíḓê">
              <a:extLst>
                <a:ext uri="{FF2B5EF4-FFF2-40B4-BE49-F238E27FC236}">
                  <a16:creationId xmlns:a16="http://schemas.microsoft.com/office/drawing/2014/main" id="{798B484B-BBD7-4812-83D6-8671B2941F4A}"/>
                </a:ext>
              </a:extLst>
            </p:cNvPr>
            <p:cNvSpPr/>
            <p:nvPr/>
          </p:nvSpPr>
          <p:spPr bwMode="auto">
            <a:xfrm>
              <a:off x="7341956" y="3534708"/>
              <a:ext cx="421905" cy="920801"/>
            </a:xfrm>
            <a:prstGeom prst="rect">
              <a:avLst/>
            </a:prstGeom>
            <a:solidFill>
              <a:srgbClr val="FFFFFF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śľíḓê">
              <a:extLst>
                <a:ext uri="{FF2B5EF4-FFF2-40B4-BE49-F238E27FC236}">
                  <a16:creationId xmlns:a16="http://schemas.microsoft.com/office/drawing/2014/main" id="{D85A093F-423D-450D-8EAC-1B14B854B2B2}"/>
                </a:ext>
              </a:extLst>
            </p:cNvPr>
            <p:cNvSpPr/>
            <p:nvPr/>
          </p:nvSpPr>
          <p:spPr bwMode="auto">
            <a:xfrm>
              <a:off x="9171240" y="295882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íṧḻiďê">
              <a:extLst>
                <a:ext uri="{FF2B5EF4-FFF2-40B4-BE49-F238E27FC236}">
                  <a16:creationId xmlns:a16="http://schemas.microsoft.com/office/drawing/2014/main" id="{969738F4-F791-4936-B42E-718B8A7D3DB9}"/>
                </a:ext>
              </a:extLst>
            </p:cNvPr>
            <p:cNvSpPr/>
            <p:nvPr/>
          </p:nvSpPr>
          <p:spPr bwMode="auto">
            <a:xfrm>
              <a:off x="9171240" y="2958823"/>
              <a:ext cx="0" cy="0"/>
            </a:xfrm>
            <a:prstGeom prst="line">
              <a:avLst/>
            </a:prstGeom>
            <a:noFill/>
            <a:ln w="76200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736213"/>
            <a:ext cx="10845798" cy="209151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512455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216184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0F6E88A5-EEFB-41BC-A2AF-17D0F4EFFFFB}"/>
              </a:ext>
            </a:extLst>
          </p:cNvPr>
          <p:cNvGrpSpPr/>
          <p:nvPr userDrawn="1"/>
        </p:nvGrpSpPr>
        <p:grpSpPr>
          <a:xfrm>
            <a:off x="4356100" y="1579751"/>
            <a:ext cx="6917432" cy="4033966"/>
            <a:chOff x="3091797" y="1238390"/>
            <a:chExt cx="8181735" cy="4771256"/>
          </a:xfrm>
        </p:grpSpPr>
        <p:sp>
          <p:nvSpPr>
            <p:cNvPr id="5" name="iṡliḍe">
              <a:extLst>
                <a:ext uri="{FF2B5EF4-FFF2-40B4-BE49-F238E27FC236}">
                  <a16:creationId xmlns:a16="http://schemas.microsoft.com/office/drawing/2014/main" id="{4D5BA5FC-1B03-48F7-9ECA-3B2E66E38D8F}"/>
                </a:ext>
              </a:extLst>
            </p:cNvPr>
            <p:cNvSpPr/>
            <p:nvPr userDrawn="1"/>
          </p:nvSpPr>
          <p:spPr bwMode="auto">
            <a:xfrm>
              <a:off x="5657478" y="1238390"/>
              <a:ext cx="4776003" cy="4771256"/>
            </a:xfrm>
            <a:custGeom>
              <a:avLst/>
              <a:gdLst>
                <a:gd name="T0" fmla="*/ 727 w 1453"/>
                <a:gd name="T1" fmla="*/ 0 h 1453"/>
                <a:gd name="T2" fmla="*/ 0 w 1453"/>
                <a:gd name="T3" fmla="*/ 727 h 1453"/>
                <a:gd name="T4" fmla="*/ 727 w 1453"/>
                <a:gd name="T5" fmla="*/ 1453 h 1453"/>
                <a:gd name="T6" fmla="*/ 1453 w 1453"/>
                <a:gd name="T7" fmla="*/ 727 h 1453"/>
                <a:gd name="T8" fmla="*/ 727 w 1453"/>
                <a:gd name="T9" fmla="*/ 0 h 1453"/>
                <a:gd name="T10" fmla="*/ 727 w 1453"/>
                <a:gd name="T11" fmla="*/ 1225 h 1453"/>
                <a:gd name="T12" fmla="*/ 228 w 1453"/>
                <a:gd name="T13" fmla="*/ 727 h 1453"/>
                <a:gd name="T14" fmla="*/ 727 w 1453"/>
                <a:gd name="T15" fmla="*/ 228 h 1453"/>
                <a:gd name="T16" fmla="*/ 1225 w 1453"/>
                <a:gd name="T17" fmla="*/ 727 h 1453"/>
                <a:gd name="T18" fmla="*/ 727 w 1453"/>
                <a:gd name="T19" fmla="*/ 1225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3" h="1453">
                  <a:moveTo>
                    <a:pt x="727" y="0"/>
                  </a:moveTo>
                  <a:cubicBezTo>
                    <a:pt x="325" y="0"/>
                    <a:pt x="0" y="325"/>
                    <a:pt x="0" y="727"/>
                  </a:cubicBezTo>
                  <a:cubicBezTo>
                    <a:pt x="0" y="1128"/>
                    <a:pt x="325" y="1453"/>
                    <a:pt x="727" y="1453"/>
                  </a:cubicBezTo>
                  <a:cubicBezTo>
                    <a:pt x="1128" y="1453"/>
                    <a:pt x="1453" y="1128"/>
                    <a:pt x="1453" y="727"/>
                  </a:cubicBezTo>
                  <a:cubicBezTo>
                    <a:pt x="1453" y="325"/>
                    <a:pt x="1128" y="0"/>
                    <a:pt x="727" y="0"/>
                  </a:cubicBezTo>
                  <a:close/>
                  <a:moveTo>
                    <a:pt x="727" y="1225"/>
                  </a:moveTo>
                  <a:cubicBezTo>
                    <a:pt x="451" y="1225"/>
                    <a:pt x="228" y="1002"/>
                    <a:pt x="228" y="727"/>
                  </a:cubicBezTo>
                  <a:cubicBezTo>
                    <a:pt x="228" y="451"/>
                    <a:pt x="451" y="228"/>
                    <a:pt x="727" y="228"/>
                  </a:cubicBezTo>
                  <a:cubicBezTo>
                    <a:pt x="1002" y="228"/>
                    <a:pt x="1225" y="451"/>
                    <a:pt x="1225" y="727"/>
                  </a:cubicBezTo>
                  <a:cubicBezTo>
                    <a:pt x="1225" y="1002"/>
                    <a:pt x="1002" y="1225"/>
                    <a:pt x="727" y="122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îṣľïdè">
              <a:extLst>
                <a:ext uri="{FF2B5EF4-FFF2-40B4-BE49-F238E27FC236}">
                  <a16:creationId xmlns:a16="http://schemas.microsoft.com/office/drawing/2014/main" id="{D52FE719-B2C8-4ED9-A605-82E58EE36760}"/>
                </a:ext>
              </a:extLst>
            </p:cNvPr>
            <p:cNvSpPr/>
            <p:nvPr userDrawn="1"/>
          </p:nvSpPr>
          <p:spPr bwMode="auto">
            <a:xfrm>
              <a:off x="3091797" y="4103180"/>
              <a:ext cx="2281986" cy="971615"/>
            </a:xfrm>
            <a:custGeom>
              <a:avLst/>
              <a:gdLst>
                <a:gd name="T0" fmla="*/ 138 w 713"/>
                <a:gd name="T1" fmla="*/ 166 h 304"/>
                <a:gd name="T2" fmla="*/ 216 w 713"/>
                <a:gd name="T3" fmla="*/ 190 h 304"/>
                <a:gd name="T4" fmla="*/ 275 w 713"/>
                <a:gd name="T5" fmla="*/ 157 h 304"/>
                <a:gd name="T6" fmla="*/ 273 w 713"/>
                <a:gd name="T7" fmla="*/ 137 h 304"/>
                <a:gd name="T8" fmla="*/ 411 w 713"/>
                <a:gd name="T9" fmla="*/ 0 h 304"/>
                <a:gd name="T10" fmla="*/ 548 w 713"/>
                <a:gd name="T11" fmla="*/ 137 h 304"/>
                <a:gd name="T12" fmla="*/ 544 w 713"/>
                <a:gd name="T13" fmla="*/ 170 h 304"/>
                <a:gd name="T14" fmla="*/ 576 w 713"/>
                <a:gd name="T15" fmla="*/ 166 h 304"/>
                <a:gd name="T16" fmla="*/ 713 w 713"/>
                <a:gd name="T17" fmla="*/ 304 h 304"/>
                <a:gd name="T18" fmla="*/ 0 w 713"/>
                <a:gd name="T19" fmla="*/ 304 h 304"/>
                <a:gd name="T20" fmla="*/ 138 w 713"/>
                <a:gd name="T21" fmla="*/ 16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3" h="304">
                  <a:moveTo>
                    <a:pt x="138" y="166"/>
                  </a:moveTo>
                  <a:cubicBezTo>
                    <a:pt x="167" y="166"/>
                    <a:pt x="193" y="175"/>
                    <a:pt x="216" y="190"/>
                  </a:cubicBezTo>
                  <a:cubicBezTo>
                    <a:pt x="231" y="173"/>
                    <a:pt x="251" y="161"/>
                    <a:pt x="275" y="157"/>
                  </a:cubicBezTo>
                  <a:cubicBezTo>
                    <a:pt x="274" y="151"/>
                    <a:pt x="273" y="144"/>
                    <a:pt x="273" y="137"/>
                  </a:cubicBezTo>
                  <a:cubicBezTo>
                    <a:pt x="273" y="61"/>
                    <a:pt x="335" y="0"/>
                    <a:pt x="411" y="0"/>
                  </a:cubicBezTo>
                  <a:cubicBezTo>
                    <a:pt x="487" y="0"/>
                    <a:pt x="548" y="61"/>
                    <a:pt x="548" y="137"/>
                  </a:cubicBezTo>
                  <a:cubicBezTo>
                    <a:pt x="548" y="148"/>
                    <a:pt x="547" y="159"/>
                    <a:pt x="544" y="170"/>
                  </a:cubicBezTo>
                  <a:cubicBezTo>
                    <a:pt x="554" y="167"/>
                    <a:pt x="565" y="166"/>
                    <a:pt x="576" y="166"/>
                  </a:cubicBezTo>
                  <a:cubicBezTo>
                    <a:pt x="652" y="166"/>
                    <a:pt x="713" y="224"/>
                    <a:pt x="713" y="304"/>
                  </a:cubicBezTo>
                  <a:cubicBezTo>
                    <a:pt x="0" y="304"/>
                    <a:pt x="0" y="304"/>
                    <a:pt x="0" y="304"/>
                  </a:cubicBezTo>
                  <a:cubicBezTo>
                    <a:pt x="0" y="224"/>
                    <a:pt x="62" y="166"/>
                    <a:pt x="138" y="16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C18C1D8-7D1C-4029-9769-3E4E7B385F82}"/>
                </a:ext>
              </a:extLst>
            </p:cNvPr>
            <p:cNvGrpSpPr/>
            <p:nvPr userDrawn="1"/>
          </p:nvGrpSpPr>
          <p:grpSpPr>
            <a:xfrm>
              <a:off x="5180537" y="2165825"/>
              <a:ext cx="5926696" cy="2851713"/>
              <a:chOff x="697437" y="2165825"/>
              <a:chExt cx="5926696" cy="2851713"/>
            </a:xfrm>
          </p:grpSpPr>
          <p:sp>
            <p:nvSpPr>
              <p:cNvPr id="9" name="ïṩľíḋé">
                <a:extLst>
                  <a:ext uri="{FF2B5EF4-FFF2-40B4-BE49-F238E27FC236}">
                    <a16:creationId xmlns:a16="http://schemas.microsoft.com/office/drawing/2014/main" id="{4A2E521A-B796-4540-BABA-6B7075DE8F27}"/>
                  </a:ext>
                </a:extLst>
              </p:cNvPr>
              <p:cNvSpPr/>
              <p:nvPr/>
            </p:nvSpPr>
            <p:spPr bwMode="auto">
              <a:xfrm>
                <a:off x="697437" y="3265244"/>
                <a:ext cx="2252730" cy="588204"/>
              </a:xfrm>
              <a:prstGeom prst="rect">
                <a:avLst/>
              </a:prstGeom>
              <a:solidFill>
                <a:srgbClr val="A7A9AC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" name="îṧ1íḑê">
                <a:extLst>
                  <a:ext uri="{FF2B5EF4-FFF2-40B4-BE49-F238E27FC236}">
                    <a16:creationId xmlns:a16="http://schemas.microsoft.com/office/drawing/2014/main" id="{06F56393-D6BA-45AB-B8EF-B9A2C8735239}"/>
                  </a:ext>
                </a:extLst>
              </p:cNvPr>
              <p:cNvSpPr/>
              <p:nvPr/>
            </p:nvSpPr>
            <p:spPr bwMode="auto">
              <a:xfrm>
                <a:off x="697437" y="3853448"/>
                <a:ext cx="2252730" cy="602063"/>
              </a:xfrm>
              <a:prstGeom prst="rect">
                <a:avLst/>
              </a:prstGeom>
              <a:solidFill>
                <a:srgbClr val="D1D3D4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" name="ïSļiḓé">
                <a:extLst>
                  <a:ext uri="{FF2B5EF4-FFF2-40B4-BE49-F238E27FC236}">
                    <a16:creationId xmlns:a16="http://schemas.microsoft.com/office/drawing/2014/main" id="{A2B870F2-A2E6-4158-A3A1-DC31D799A5F5}"/>
                  </a:ext>
                </a:extLst>
              </p:cNvPr>
              <p:cNvSpPr/>
              <p:nvPr/>
            </p:nvSpPr>
            <p:spPr bwMode="auto">
              <a:xfrm>
                <a:off x="697437" y="4455510"/>
                <a:ext cx="2252730" cy="562028"/>
              </a:xfrm>
              <a:prstGeom prst="rect">
                <a:avLst/>
              </a:prstGeom>
              <a:solidFill>
                <a:srgbClr val="A7A9AC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" name="îšḷiḋe">
                <a:extLst>
                  <a:ext uri="{FF2B5EF4-FFF2-40B4-BE49-F238E27FC236}">
                    <a16:creationId xmlns:a16="http://schemas.microsoft.com/office/drawing/2014/main" id="{60E1F903-5E80-43FE-B930-57FDC7A6EA7C}"/>
                  </a:ext>
                </a:extLst>
              </p:cNvPr>
              <p:cNvSpPr/>
              <p:nvPr/>
            </p:nvSpPr>
            <p:spPr bwMode="auto">
              <a:xfrm>
                <a:off x="997698" y="3998190"/>
                <a:ext cx="263306" cy="2617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iŝľiḓé">
                <a:extLst>
                  <a:ext uri="{FF2B5EF4-FFF2-40B4-BE49-F238E27FC236}">
                    <a16:creationId xmlns:a16="http://schemas.microsoft.com/office/drawing/2014/main" id="{9E9973FA-BD67-4B38-B9AD-2496DF7B84C6}"/>
                  </a:ext>
                </a:extLst>
              </p:cNvPr>
              <p:cNvSpPr/>
              <p:nvPr/>
            </p:nvSpPr>
            <p:spPr bwMode="auto">
              <a:xfrm>
                <a:off x="1418064" y="3998190"/>
                <a:ext cx="261766" cy="2617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ïś1îďê">
                <a:extLst>
                  <a:ext uri="{FF2B5EF4-FFF2-40B4-BE49-F238E27FC236}">
                    <a16:creationId xmlns:a16="http://schemas.microsoft.com/office/drawing/2014/main" id="{7E72712F-025A-4FDE-B2C0-C94491F16C87}"/>
                  </a:ext>
                </a:extLst>
              </p:cNvPr>
              <p:cNvSpPr/>
              <p:nvPr/>
            </p:nvSpPr>
            <p:spPr bwMode="auto">
              <a:xfrm flipH="1">
                <a:off x="991538" y="4634127"/>
                <a:ext cx="1638349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ïşḷîďé">
                <a:extLst>
                  <a:ext uri="{FF2B5EF4-FFF2-40B4-BE49-F238E27FC236}">
                    <a16:creationId xmlns:a16="http://schemas.microsoft.com/office/drawing/2014/main" id="{C9307187-76B2-440F-B60A-F20143F6ED77}"/>
                  </a:ext>
                </a:extLst>
              </p:cNvPr>
              <p:cNvSpPr/>
              <p:nvPr/>
            </p:nvSpPr>
            <p:spPr bwMode="auto">
              <a:xfrm flipH="1">
                <a:off x="991538" y="4788107"/>
                <a:ext cx="1638349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íṧḻídè">
                <a:extLst>
                  <a:ext uri="{FF2B5EF4-FFF2-40B4-BE49-F238E27FC236}">
                    <a16:creationId xmlns:a16="http://schemas.microsoft.com/office/drawing/2014/main" id="{6A363456-6AB1-4AA1-BD44-B67ED47EBC54}"/>
                  </a:ext>
                </a:extLst>
              </p:cNvPr>
              <p:cNvSpPr/>
              <p:nvPr/>
            </p:nvSpPr>
            <p:spPr bwMode="auto">
              <a:xfrm>
                <a:off x="2629888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îṡḻïḋe">
                <a:extLst>
                  <a:ext uri="{FF2B5EF4-FFF2-40B4-BE49-F238E27FC236}">
                    <a16:creationId xmlns:a16="http://schemas.microsoft.com/office/drawing/2014/main" id="{FFF37C1E-495B-401C-873B-2F697BC61BF5}"/>
                  </a:ext>
                </a:extLst>
              </p:cNvPr>
              <p:cNvSpPr/>
              <p:nvPr/>
            </p:nvSpPr>
            <p:spPr bwMode="auto">
              <a:xfrm>
                <a:off x="2489766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ṥlíḋé">
                <a:extLst>
                  <a:ext uri="{FF2B5EF4-FFF2-40B4-BE49-F238E27FC236}">
                    <a16:creationId xmlns:a16="http://schemas.microsoft.com/office/drawing/2014/main" id="{0A5B7F0B-A4E5-4D55-B413-C686A69F48F2}"/>
                  </a:ext>
                </a:extLst>
              </p:cNvPr>
              <p:cNvSpPr/>
              <p:nvPr/>
            </p:nvSpPr>
            <p:spPr bwMode="auto">
              <a:xfrm>
                <a:off x="2348105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iṥ1íḍè">
                <a:extLst>
                  <a:ext uri="{FF2B5EF4-FFF2-40B4-BE49-F238E27FC236}">
                    <a16:creationId xmlns:a16="http://schemas.microsoft.com/office/drawing/2014/main" id="{ADD00199-3D4A-4E70-9E1A-7240848CFE5A}"/>
                  </a:ext>
                </a:extLst>
              </p:cNvPr>
              <p:cNvSpPr/>
              <p:nvPr/>
            </p:nvSpPr>
            <p:spPr bwMode="auto">
              <a:xfrm>
                <a:off x="2181806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ïṡlîḋé">
                <a:extLst>
                  <a:ext uri="{FF2B5EF4-FFF2-40B4-BE49-F238E27FC236}">
                    <a16:creationId xmlns:a16="http://schemas.microsoft.com/office/drawing/2014/main" id="{03B3A966-E530-444A-AE08-7BBDD713EC90}"/>
                  </a:ext>
                </a:extLst>
              </p:cNvPr>
              <p:cNvSpPr/>
              <p:nvPr/>
            </p:nvSpPr>
            <p:spPr bwMode="auto">
              <a:xfrm>
                <a:off x="2029365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îS1iḓè">
                <a:extLst>
                  <a:ext uri="{FF2B5EF4-FFF2-40B4-BE49-F238E27FC236}">
                    <a16:creationId xmlns:a16="http://schemas.microsoft.com/office/drawing/2014/main" id="{883140DA-B375-41E8-9658-5A5934059716}"/>
                  </a:ext>
                </a:extLst>
              </p:cNvPr>
              <p:cNvSpPr/>
              <p:nvPr/>
            </p:nvSpPr>
            <p:spPr bwMode="auto">
              <a:xfrm flipH="1">
                <a:off x="1504293" y="4109055"/>
                <a:ext cx="115486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iṧļïḑè">
                <a:extLst>
                  <a:ext uri="{FF2B5EF4-FFF2-40B4-BE49-F238E27FC236}">
                    <a16:creationId xmlns:a16="http://schemas.microsoft.com/office/drawing/2014/main" id="{84585DA5-5BC2-4347-90C6-A58DA49EBF25}"/>
                  </a:ext>
                </a:extLst>
              </p:cNvPr>
              <p:cNvSpPr/>
              <p:nvPr/>
            </p:nvSpPr>
            <p:spPr bwMode="auto">
              <a:xfrm flipH="1">
                <a:off x="1094706" y="4109055"/>
                <a:ext cx="89308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Sḻïdè">
                <a:extLst>
                  <a:ext uri="{FF2B5EF4-FFF2-40B4-BE49-F238E27FC236}">
                    <a16:creationId xmlns:a16="http://schemas.microsoft.com/office/drawing/2014/main" id="{996723C0-3440-41A6-8735-3F1CA019B96C}"/>
                  </a:ext>
                </a:extLst>
              </p:cNvPr>
              <p:cNvSpPr/>
              <p:nvPr/>
            </p:nvSpPr>
            <p:spPr bwMode="auto">
              <a:xfrm>
                <a:off x="1017716" y="3445400"/>
                <a:ext cx="76990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îṣḷiḍè">
                <a:extLst>
                  <a:ext uri="{FF2B5EF4-FFF2-40B4-BE49-F238E27FC236}">
                    <a16:creationId xmlns:a16="http://schemas.microsoft.com/office/drawing/2014/main" id="{2EE024A5-94EB-4191-A952-03177BD1330E}"/>
                  </a:ext>
                </a:extLst>
              </p:cNvPr>
              <p:cNvSpPr/>
              <p:nvPr/>
            </p:nvSpPr>
            <p:spPr bwMode="auto">
              <a:xfrm>
                <a:off x="1184014" y="3445400"/>
                <a:ext cx="50814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îSľîḍé">
                <a:extLst>
                  <a:ext uri="{FF2B5EF4-FFF2-40B4-BE49-F238E27FC236}">
                    <a16:creationId xmlns:a16="http://schemas.microsoft.com/office/drawing/2014/main" id="{4B224172-F9DC-4DD9-A57C-FE9958E73609}"/>
                  </a:ext>
                </a:extLst>
              </p:cNvPr>
              <p:cNvSpPr/>
              <p:nvPr/>
            </p:nvSpPr>
            <p:spPr bwMode="auto">
              <a:xfrm>
                <a:off x="1311818" y="3445400"/>
                <a:ext cx="103167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íş1idè">
                <a:extLst>
                  <a:ext uri="{FF2B5EF4-FFF2-40B4-BE49-F238E27FC236}">
                    <a16:creationId xmlns:a16="http://schemas.microsoft.com/office/drawing/2014/main" id="{035FFAC5-00BE-4D30-98A0-F82983612618}"/>
                  </a:ext>
                </a:extLst>
              </p:cNvPr>
              <p:cNvSpPr/>
              <p:nvPr/>
            </p:nvSpPr>
            <p:spPr bwMode="auto">
              <a:xfrm>
                <a:off x="1478116" y="3445400"/>
                <a:ext cx="103167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iṡḷïdè">
                <a:extLst>
                  <a:ext uri="{FF2B5EF4-FFF2-40B4-BE49-F238E27FC236}">
                    <a16:creationId xmlns:a16="http://schemas.microsoft.com/office/drawing/2014/main" id="{C6797728-3EE9-4046-894E-4E0D7A8DD8D9}"/>
                  </a:ext>
                </a:extLst>
              </p:cNvPr>
              <p:cNvSpPr/>
              <p:nvPr/>
            </p:nvSpPr>
            <p:spPr bwMode="auto">
              <a:xfrm>
                <a:off x="1656733" y="3445400"/>
                <a:ext cx="64672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$1îḓè">
                <a:extLst>
                  <a:ext uri="{FF2B5EF4-FFF2-40B4-BE49-F238E27FC236}">
                    <a16:creationId xmlns:a16="http://schemas.microsoft.com/office/drawing/2014/main" id="{C27830F7-CFE5-48F4-8E17-43AE9D9B9FB4}"/>
                  </a:ext>
                </a:extLst>
              </p:cNvPr>
              <p:cNvSpPr/>
              <p:nvPr/>
            </p:nvSpPr>
            <p:spPr bwMode="auto">
              <a:xfrm flipH="1">
                <a:off x="1798395" y="3457719"/>
                <a:ext cx="920801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şlïdé">
                <a:extLst>
                  <a:ext uri="{FF2B5EF4-FFF2-40B4-BE49-F238E27FC236}">
                    <a16:creationId xmlns:a16="http://schemas.microsoft.com/office/drawing/2014/main" id="{D3276F74-80B5-4F74-BDD8-9DE4FDB84381}"/>
                  </a:ext>
                </a:extLst>
              </p:cNvPr>
              <p:cNvSpPr/>
              <p:nvPr/>
            </p:nvSpPr>
            <p:spPr bwMode="auto">
              <a:xfrm flipH="1">
                <a:off x="1798395" y="3624018"/>
                <a:ext cx="920801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iṩļïḑé">
                <a:extLst>
                  <a:ext uri="{FF2B5EF4-FFF2-40B4-BE49-F238E27FC236}">
                    <a16:creationId xmlns:a16="http://schemas.microsoft.com/office/drawing/2014/main" id="{646AF204-2B8D-4C13-AAAA-37CAE02A0127}"/>
                  </a:ext>
                </a:extLst>
              </p:cNvPr>
              <p:cNvSpPr/>
              <p:nvPr/>
            </p:nvSpPr>
            <p:spPr bwMode="auto">
              <a:xfrm>
                <a:off x="1913880" y="2165825"/>
                <a:ext cx="3583118" cy="2506797"/>
              </a:xfrm>
              <a:custGeom>
                <a:avLst/>
                <a:gdLst>
                  <a:gd name="T0" fmla="*/ 1120 w 1120"/>
                  <a:gd name="T1" fmla="*/ 47 h 784"/>
                  <a:gd name="T2" fmla="*/ 1067 w 1120"/>
                  <a:gd name="T3" fmla="*/ 0 h 784"/>
                  <a:gd name="T4" fmla="*/ 54 w 1120"/>
                  <a:gd name="T5" fmla="*/ 0 h 784"/>
                  <a:gd name="T6" fmla="*/ 0 w 1120"/>
                  <a:gd name="T7" fmla="*/ 47 h 784"/>
                  <a:gd name="T8" fmla="*/ 0 w 1120"/>
                  <a:gd name="T9" fmla="*/ 784 h 784"/>
                  <a:gd name="T10" fmla="*/ 1120 w 1120"/>
                  <a:gd name="T11" fmla="*/ 784 h 784"/>
                  <a:gd name="T12" fmla="*/ 1120 w 1120"/>
                  <a:gd name="T13" fmla="*/ 47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0" h="784">
                    <a:moveTo>
                      <a:pt x="1120" y="47"/>
                    </a:moveTo>
                    <a:cubicBezTo>
                      <a:pt x="1120" y="19"/>
                      <a:pt x="1096" y="0"/>
                      <a:pt x="1067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26" y="0"/>
                      <a:pt x="0" y="19"/>
                      <a:pt x="0" y="47"/>
                    </a:cubicBezTo>
                    <a:cubicBezTo>
                      <a:pt x="0" y="784"/>
                      <a:pt x="0" y="784"/>
                      <a:pt x="0" y="784"/>
                    </a:cubicBezTo>
                    <a:cubicBezTo>
                      <a:pt x="1120" y="784"/>
                      <a:pt x="1120" y="784"/>
                      <a:pt x="1120" y="784"/>
                    </a:cubicBezTo>
                    <a:lnTo>
                      <a:pt x="1120" y="47"/>
                    </a:lnTo>
                    <a:close/>
                  </a:path>
                </a:pathLst>
              </a:custGeom>
              <a:solidFill>
                <a:srgbClr val="6D6E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iṣľïḓé">
                <a:extLst>
                  <a:ext uri="{FF2B5EF4-FFF2-40B4-BE49-F238E27FC236}">
                    <a16:creationId xmlns:a16="http://schemas.microsoft.com/office/drawing/2014/main" id="{86D186B7-C908-4C65-AFE8-99471E5BB3D5}"/>
                  </a:ext>
                </a:extLst>
              </p:cNvPr>
              <p:cNvSpPr/>
              <p:nvPr/>
            </p:nvSpPr>
            <p:spPr bwMode="auto">
              <a:xfrm>
                <a:off x="1632096" y="4672622"/>
                <a:ext cx="4146685" cy="344916"/>
              </a:xfrm>
              <a:custGeom>
                <a:avLst/>
                <a:gdLst>
                  <a:gd name="T0" fmla="*/ 0 w 1296"/>
                  <a:gd name="T1" fmla="*/ 0 h 108"/>
                  <a:gd name="T2" fmla="*/ 0 w 1296"/>
                  <a:gd name="T3" fmla="*/ 57 h 108"/>
                  <a:gd name="T4" fmla="*/ 66 w 1296"/>
                  <a:gd name="T5" fmla="*/ 108 h 108"/>
                  <a:gd name="T6" fmla="*/ 1232 w 1296"/>
                  <a:gd name="T7" fmla="*/ 108 h 108"/>
                  <a:gd name="T8" fmla="*/ 1296 w 1296"/>
                  <a:gd name="T9" fmla="*/ 57 h 108"/>
                  <a:gd name="T10" fmla="*/ 1296 w 1296"/>
                  <a:gd name="T11" fmla="*/ 0 h 108"/>
                  <a:gd name="T12" fmla="*/ 0 w 1296"/>
                  <a:gd name="T1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6" h="108">
                    <a:moveTo>
                      <a:pt x="0" y="0"/>
                    </a:moveTo>
                    <a:cubicBezTo>
                      <a:pt x="0" y="57"/>
                      <a:pt x="0" y="57"/>
                      <a:pt x="0" y="57"/>
                    </a:cubicBezTo>
                    <a:cubicBezTo>
                      <a:pt x="0" y="85"/>
                      <a:pt x="33" y="108"/>
                      <a:pt x="66" y="108"/>
                    </a:cubicBezTo>
                    <a:cubicBezTo>
                      <a:pt x="1232" y="108"/>
                      <a:pt x="1232" y="108"/>
                      <a:pt x="1232" y="108"/>
                    </a:cubicBezTo>
                    <a:cubicBezTo>
                      <a:pt x="1265" y="108"/>
                      <a:pt x="1296" y="85"/>
                      <a:pt x="1296" y="57"/>
                    </a:cubicBezTo>
                    <a:cubicBezTo>
                      <a:pt x="1296" y="0"/>
                      <a:pt x="1296" y="0"/>
                      <a:pt x="1296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2F2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iṥḻîďê">
                <a:extLst>
                  <a:ext uri="{FF2B5EF4-FFF2-40B4-BE49-F238E27FC236}">
                    <a16:creationId xmlns:a16="http://schemas.microsoft.com/office/drawing/2014/main" id="{3AB8D940-E790-4702-89B8-F8BD690E565D}"/>
                  </a:ext>
                </a:extLst>
              </p:cNvPr>
              <p:cNvSpPr/>
              <p:nvPr/>
            </p:nvSpPr>
            <p:spPr bwMode="auto">
              <a:xfrm>
                <a:off x="2143310" y="2358300"/>
                <a:ext cx="3124257" cy="209721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íšļiḋe">
                <a:extLst>
                  <a:ext uri="{FF2B5EF4-FFF2-40B4-BE49-F238E27FC236}">
                    <a16:creationId xmlns:a16="http://schemas.microsoft.com/office/drawing/2014/main" id="{8384A760-DD41-4F04-85BA-2B88F05CAEB5}"/>
                  </a:ext>
                </a:extLst>
              </p:cNvPr>
              <p:cNvSpPr/>
              <p:nvPr/>
            </p:nvSpPr>
            <p:spPr bwMode="auto">
              <a:xfrm>
                <a:off x="3513734" y="4863558"/>
                <a:ext cx="409588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Sľiḋé">
                <a:extLst>
                  <a:ext uri="{FF2B5EF4-FFF2-40B4-BE49-F238E27FC236}">
                    <a16:creationId xmlns:a16="http://schemas.microsoft.com/office/drawing/2014/main" id="{BF4F15CC-10BF-43DD-8020-C48A531CDD0F}"/>
                  </a:ext>
                </a:extLst>
              </p:cNvPr>
              <p:cNvSpPr/>
              <p:nvPr/>
            </p:nvSpPr>
            <p:spPr bwMode="auto">
              <a:xfrm>
                <a:off x="4730177" y="2613907"/>
                <a:ext cx="294103" cy="5112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íṡḻîdé">
                <a:extLst>
                  <a:ext uri="{FF2B5EF4-FFF2-40B4-BE49-F238E27FC236}">
                    <a16:creationId xmlns:a16="http://schemas.microsoft.com/office/drawing/2014/main" id="{6D5EC608-E0DA-4EAF-8CEF-8F180348FD7A}"/>
                  </a:ext>
                </a:extLst>
              </p:cNvPr>
              <p:cNvSpPr/>
              <p:nvPr/>
            </p:nvSpPr>
            <p:spPr bwMode="auto">
              <a:xfrm>
                <a:off x="2425094" y="2613907"/>
                <a:ext cx="2151103" cy="5112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śḻiḓè">
                <a:extLst>
                  <a:ext uri="{FF2B5EF4-FFF2-40B4-BE49-F238E27FC236}">
                    <a16:creationId xmlns:a16="http://schemas.microsoft.com/office/drawing/2014/main" id="{9EA6934E-2519-4076-8A3E-E0052F32717E}"/>
                  </a:ext>
                </a:extLst>
              </p:cNvPr>
              <p:cNvSpPr/>
              <p:nvPr/>
            </p:nvSpPr>
            <p:spPr bwMode="auto">
              <a:xfrm>
                <a:off x="2425094" y="3265244"/>
                <a:ext cx="589745" cy="51275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Sļîḍe">
                <a:extLst>
                  <a:ext uri="{FF2B5EF4-FFF2-40B4-BE49-F238E27FC236}">
                    <a16:creationId xmlns:a16="http://schemas.microsoft.com/office/drawing/2014/main" id="{F5DB084A-8D54-40B8-AE73-E44FAF6E8CA6}"/>
                  </a:ext>
                </a:extLst>
              </p:cNvPr>
              <p:cNvSpPr/>
              <p:nvPr/>
            </p:nvSpPr>
            <p:spPr bwMode="auto">
              <a:xfrm>
                <a:off x="3128783" y="3265244"/>
                <a:ext cx="1844682" cy="51275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íŝ1îḍe">
                <a:extLst>
                  <a:ext uri="{FF2B5EF4-FFF2-40B4-BE49-F238E27FC236}">
                    <a16:creationId xmlns:a16="http://schemas.microsoft.com/office/drawing/2014/main" id="{91E35EF0-48BD-4558-A86A-7F3702166858}"/>
                  </a:ext>
                </a:extLst>
              </p:cNvPr>
              <p:cNvSpPr/>
              <p:nvPr/>
            </p:nvSpPr>
            <p:spPr bwMode="auto">
              <a:xfrm>
                <a:off x="2425094" y="3944296"/>
                <a:ext cx="2548372" cy="241749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iṧlíḑé">
                <a:extLst>
                  <a:ext uri="{FF2B5EF4-FFF2-40B4-BE49-F238E27FC236}">
                    <a16:creationId xmlns:a16="http://schemas.microsoft.com/office/drawing/2014/main" id="{307D6148-8163-4785-8EB3-35C673D03FDB}"/>
                  </a:ext>
                </a:extLst>
              </p:cNvPr>
              <p:cNvSpPr/>
              <p:nvPr/>
            </p:nvSpPr>
            <p:spPr bwMode="auto">
              <a:xfrm>
                <a:off x="4371403" y="3265244"/>
                <a:ext cx="2252730" cy="588204"/>
              </a:xfrm>
              <a:prstGeom prst="rect">
                <a:avLst/>
              </a:prstGeom>
              <a:solidFill>
                <a:srgbClr val="A7A9AC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şľïḑè">
                <a:extLst>
                  <a:ext uri="{FF2B5EF4-FFF2-40B4-BE49-F238E27FC236}">
                    <a16:creationId xmlns:a16="http://schemas.microsoft.com/office/drawing/2014/main" id="{10FC7C76-60A0-4D2E-B7BB-E51F21FD1C42}"/>
                  </a:ext>
                </a:extLst>
              </p:cNvPr>
              <p:cNvSpPr/>
              <p:nvPr/>
            </p:nvSpPr>
            <p:spPr bwMode="auto">
              <a:xfrm>
                <a:off x="4371403" y="3853448"/>
                <a:ext cx="2252730" cy="602063"/>
              </a:xfrm>
              <a:prstGeom prst="rect">
                <a:avLst/>
              </a:prstGeom>
              <a:solidFill>
                <a:srgbClr val="D1D3D4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îŝľíďé">
                <a:extLst>
                  <a:ext uri="{FF2B5EF4-FFF2-40B4-BE49-F238E27FC236}">
                    <a16:creationId xmlns:a16="http://schemas.microsoft.com/office/drawing/2014/main" id="{03D3678A-9307-40AB-8C7C-DB253F9AF15E}"/>
                  </a:ext>
                </a:extLst>
              </p:cNvPr>
              <p:cNvSpPr/>
              <p:nvPr/>
            </p:nvSpPr>
            <p:spPr bwMode="auto">
              <a:xfrm>
                <a:off x="4371403" y="4455510"/>
                <a:ext cx="2252730" cy="562028"/>
              </a:xfrm>
              <a:prstGeom prst="rect">
                <a:avLst/>
              </a:prstGeom>
              <a:solidFill>
                <a:srgbClr val="A7A9AC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ïś1iḋè">
                <a:extLst>
                  <a:ext uri="{FF2B5EF4-FFF2-40B4-BE49-F238E27FC236}">
                    <a16:creationId xmlns:a16="http://schemas.microsoft.com/office/drawing/2014/main" id="{AB4810E3-8194-4C98-9BDC-3B83196D32E8}"/>
                  </a:ext>
                </a:extLst>
              </p:cNvPr>
              <p:cNvSpPr/>
              <p:nvPr/>
            </p:nvSpPr>
            <p:spPr bwMode="auto">
              <a:xfrm>
                <a:off x="4671664" y="3998190"/>
                <a:ext cx="266386" cy="2617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îŝļiḑé">
                <a:extLst>
                  <a:ext uri="{FF2B5EF4-FFF2-40B4-BE49-F238E27FC236}">
                    <a16:creationId xmlns:a16="http://schemas.microsoft.com/office/drawing/2014/main" id="{A3A4BA64-E9C9-4D37-AD0A-C6559EED5FF6}"/>
                  </a:ext>
                </a:extLst>
              </p:cNvPr>
              <p:cNvSpPr/>
              <p:nvPr/>
            </p:nvSpPr>
            <p:spPr bwMode="auto">
              <a:xfrm>
                <a:off x="5090490" y="3998190"/>
                <a:ext cx="266386" cy="2617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íšḻïḍè">
                <a:extLst>
                  <a:ext uri="{FF2B5EF4-FFF2-40B4-BE49-F238E27FC236}">
                    <a16:creationId xmlns:a16="http://schemas.microsoft.com/office/drawing/2014/main" id="{760B88CB-B294-419B-A1B6-9D6D75FA7DE3}"/>
                  </a:ext>
                </a:extLst>
              </p:cNvPr>
              <p:cNvSpPr/>
              <p:nvPr/>
            </p:nvSpPr>
            <p:spPr bwMode="auto">
              <a:xfrm flipH="1">
                <a:off x="4665505" y="4634127"/>
                <a:ext cx="1650667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íṩḷíḓê">
                <a:extLst>
                  <a:ext uri="{FF2B5EF4-FFF2-40B4-BE49-F238E27FC236}">
                    <a16:creationId xmlns:a16="http://schemas.microsoft.com/office/drawing/2014/main" id="{40C9C31C-D313-43DB-B1E4-E1C170F2AFD8}"/>
                  </a:ext>
                </a:extLst>
              </p:cNvPr>
              <p:cNvSpPr/>
              <p:nvPr/>
            </p:nvSpPr>
            <p:spPr bwMode="auto">
              <a:xfrm flipH="1">
                <a:off x="4665505" y="4788107"/>
                <a:ext cx="1650667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i$ľiďé">
                <a:extLst>
                  <a:ext uri="{FF2B5EF4-FFF2-40B4-BE49-F238E27FC236}">
                    <a16:creationId xmlns:a16="http://schemas.microsoft.com/office/drawing/2014/main" id="{CA270E1B-0A52-4498-BC0C-1E5C40822022}"/>
                  </a:ext>
                </a:extLst>
              </p:cNvPr>
              <p:cNvSpPr/>
              <p:nvPr/>
            </p:nvSpPr>
            <p:spPr bwMode="auto">
              <a:xfrm>
                <a:off x="6316172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ïsḷîḑe">
                <a:extLst>
                  <a:ext uri="{FF2B5EF4-FFF2-40B4-BE49-F238E27FC236}">
                    <a16:creationId xmlns:a16="http://schemas.microsoft.com/office/drawing/2014/main" id="{7C79EAB6-4456-495E-A06B-703F74E0EB36}"/>
                  </a:ext>
                </a:extLst>
              </p:cNvPr>
              <p:cNvSpPr/>
              <p:nvPr/>
            </p:nvSpPr>
            <p:spPr bwMode="auto">
              <a:xfrm>
                <a:off x="6176051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išļïḑê">
                <a:extLst>
                  <a:ext uri="{FF2B5EF4-FFF2-40B4-BE49-F238E27FC236}">
                    <a16:creationId xmlns:a16="http://schemas.microsoft.com/office/drawing/2014/main" id="{C18CDAC8-3FF7-4DC6-87AB-AF47444AD870}"/>
                  </a:ext>
                </a:extLst>
              </p:cNvPr>
              <p:cNvSpPr/>
              <p:nvPr/>
            </p:nvSpPr>
            <p:spPr bwMode="auto">
              <a:xfrm>
                <a:off x="5997434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ïsľïḍé">
                <a:extLst>
                  <a:ext uri="{FF2B5EF4-FFF2-40B4-BE49-F238E27FC236}">
                    <a16:creationId xmlns:a16="http://schemas.microsoft.com/office/drawing/2014/main" id="{37E72CF5-8589-4BCD-9E14-4C0E0052F66D}"/>
                  </a:ext>
                </a:extLst>
              </p:cNvPr>
              <p:cNvSpPr/>
              <p:nvPr/>
            </p:nvSpPr>
            <p:spPr bwMode="auto">
              <a:xfrm>
                <a:off x="5855772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šlïḓè">
                <a:extLst>
                  <a:ext uri="{FF2B5EF4-FFF2-40B4-BE49-F238E27FC236}">
                    <a16:creationId xmlns:a16="http://schemas.microsoft.com/office/drawing/2014/main" id="{74EEA65F-05C1-4525-9DC7-BA4E70522F15}"/>
                  </a:ext>
                </a:extLst>
              </p:cNvPr>
              <p:cNvSpPr/>
              <p:nvPr/>
            </p:nvSpPr>
            <p:spPr bwMode="auto">
              <a:xfrm>
                <a:off x="5701792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îṣļidê">
                <a:extLst>
                  <a:ext uri="{FF2B5EF4-FFF2-40B4-BE49-F238E27FC236}">
                    <a16:creationId xmlns:a16="http://schemas.microsoft.com/office/drawing/2014/main" id="{73FF7968-2263-44B3-9D39-F420D23C093B}"/>
                  </a:ext>
                </a:extLst>
              </p:cNvPr>
              <p:cNvSpPr/>
              <p:nvPr/>
            </p:nvSpPr>
            <p:spPr bwMode="auto">
              <a:xfrm flipH="1">
                <a:off x="5178260" y="4109055"/>
                <a:ext cx="113946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ïṩḷïḍè">
                <a:extLst>
                  <a:ext uri="{FF2B5EF4-FFF2-40B4-BE49-F238E27FC236}">
                    <a16:creationId xmlns:a16="http://schemas.microsoft.com/office/drawing/2014/main" id="{327B40E8-A884-4220-9511-D6743B994A80}"/>
                  </a:ext>
                </a:extLst>
              </p:cNvPr>
              <p:cNvSpPr/>
              <p:nvPr/>
            </p:nvSpPr>
            <p:spPr bwMode="auto">
              <a:xfrm flipH="1">
                <a:off x="4780991" y="4109055"/>
                <a:ext cx="76990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ïṧlïḑé">
                <a:extLst>
                  <a:ext uri="{FF2B5EF4-FFF2-40B4-BE49-F238E27FC236}">
                    <a16:creationId xmlns:a16="http://schemas.microsoft.com/office/drawing/2014/main" id="{6A6E4119-EE18-4D50-9037-D32A758BBAA3}"/>
                  </a:ext>
                </a:extLst>
              </p:cNvPr>
              <p:cNvSpPr/>
              <p:nvPr/>
            </p:nvSpPr>
            <p:spPr bwMode="auto">
              <a:xfrm>
                <a:off x="4704001" y="3445400"/>
                <a:ext cx="76990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ïṥḷïḍé">
                <a:extLst>
                  <a:ext uri="{FF2B5EF4-FFF2-40B4-BE49-F238E27FC236}">
                    <a16:creationId xmlns:a16="http://schemas.microsoft.com/office/drawing/2014/main" id="{F582BEBE-F4D1-4683-98B4-C96E738CA953}"/>
                  </a:ext>
                </a:extLst>
              </p:cNvPr>
              <p:cNvSpPr/>
              <p:nvPr/>
            </p:nvSpPr>
            <p:spPr bwMode="auto">
              <a:xfrm>
                <a:off x="4857980" y="3445400"/>
                <a:ext cx="50814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í$ḷïďe">
                <a:extLst>
                  <a:ext uri="{FF2B5EF4-FFF2-40B4-BE49-F238E27FC236}">
                    <a16:creationId xmlns:a16="http://schemas.microsoft.com/office/drawing/2014/main" id="{26AA420B-BF1D-4C07-B2C8-8C5C93DCFCD5}"/>
                  </a:ext>
                </a:extLst>
              </p:cNvPr>
              <p:cNvSpPr/>
              <p:nvPr/>
            </p:nvSpPr>
            <p:spPr bwMode="auto">
              <a:xfrm>
                <a:off x="4985784" y="3445400"/>
                <a:ext cx="76990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íṧľíďe">
                <a:extLst>
                  <a:ext uri="{FF2B5EF4-FFF2-40B4-BE49-F238E27FC236}">
                    <a16:creationId xmlns:a16="http://schemas.microsoft.com/office/drawing/2014/main" id="{C0C43731-2146-46CA-8D5E-5CFB0752C9D5}"/>
                  </a:ext>
                </a:extLst>
              </p:cNvPr>
              <p:cNvSpPr/>
              <p:nvPr/>
            </p:nvSpPr>
            <p:spPr bwMode="auto">
              <a:xfrm>
                <a:off x="5139764" y="3445400"/>
                <a:ext cx="113946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šḷîde">
                <a:extLst>
                  <a:ext uri="{FF2B5EF4-FFF2-40B4-BE49-F238E27FC236}">
                    <a16:creationId xmlns:a16="http://schemas.microsoft.com/office/drawing/2014/main" id="{58EB0808-DEB5-4C2F-BDF2-3C1A8121C6B5}"/>
                  </a:ext>
                </a:extLst>
              </p:cNvPr>
              <p:cNvSpPr/>
              <p:nvPr/>
            </p:nvSpPr>
            <p:spPr bwMode="auto">
              <a:xfrm>
                <a:off x="5330699" y="3445400"/>
                <a:ext cx="76990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işḷïdé">
                <a:extLst>
                  <a:ext uri="{FF2B5EF4-FFF2-40B4-BE49-F238E27FC236}">
                    <a16:creationId xmlns:a16="http://schemas.microsoft.com/office/drawing/2014/main" id="{BFE704F9-29CD-4659-8955-264B15D3976D}"/>
                  </a:ext>
                </a:extLst>
              </p:cNvPr>
              <p:cNvSpPr/>
              <p:nvPr/>
            </p:nvSpPr>
            <p:spPr bwMode="auto">
              <a:xfrm flipH="1">
                <a:off x="5496997" y="3457719"/>
                <a:ext cx="896165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íṥlîḋe">
                <a:extLst>
                  <a:ext uri="{FF2B5EF4-FFF2-40B4-BE49-F238E27FC236}">
                    <a16:creationId xmlns:a16="http://schemas.microsoft.com/office/drawing/2014/main" id="{8055569B-9776-49A1-8682-BE3DE0957C11}"/>
                  </a:ext>
                </a:extLst>
              </p:cNvPr>
              <p:cNvSpPr/>
              <p:nvPr/>
            </p:nvSpPr>
            <p:spPr bwMode="auto">
              <a:xfrm flipH="1">
                <a:off x="5496997" y="3624018"/>
                <a:ext cx="896165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îṧ1ïḓê">
                <a:extLst>
                  <a:ext uri="{FF2B5EF4-FFF2-40B4-BE49-F238E27FC236}">
                    <a16:creationId xmlns:a16="http://schemas.microsoft.com/office/drawing/2014/main" id="{E5632EA0-BC80-45F1-812A-E95E016F325D}"/>
                  </a:ext>
                </a:extLst>
              </p:cNvPr>
              <p:cNvSpPr/>
              <p:nvPr/>
            </p:nvSpPr>
            <p:spPr bwMode="auto">
              <a:xfrm>
                <a:off x="2566756" y="3534708"/>
                <a:ext cx="421905" cy="920801"/>
              </a:xfrm>
              <a:prstGeom prst="rect">
                <a:avLst/>
              </a:prstGeom>
              <a:solidFill>
                <a:srgbClr val="FFFFFF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işļïḍé">
                <a:extLst>
                  <a:ext uri="{FF2B5EF4-FFF2-40B4-BE49-F238E27FC236}">
                    <a16:creationId xmlns:a16="http://schemas.microsoft.com/office/drawing/2014/main" id="{0DD2F572-A23D-400C-A2F8-226DDABAAF60}"/>
                  </a:ext>
                </a:extLst>
              </p:cNvPr>
              <p:cNvSpPr/>
              <p:nvPr/>
            </p:nvSpPr>
            <p:spPr bwMode="auto">
              <a:xfrm>
                <a:off x="4396040" y="2958823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iṩḻiḋê">
                <a:extLst>
                  <a:ext uri="{FF2B5EF4-FFF2-40B4-BE49-F238E27FC236}">
                    <a16:creationId xmlns:a16="http://schemas.microsoft.com/office/drawing/2014/main" id="{1EDA9D56-4327-4107-889C-530706C7881A}"/>
                  </a:ext>
                </a:extLst>
              </p:cNvPr>
              <p:cNvSpPr/>
              <p:nvPr/>
            </p:nvSpPr>
            <p:spPr bwMode="auto">
              <a:xfrm>
                <a:off x="4396040" y="2958823"/>
                <a:ext cx="0" cy="0"/>
              </a:xfrm>
              <a:prstGeom prst="line">
                <a:avLst/>
              </a:prstGeom>
              <a:noFill/>
              <a:ln w="76200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65" name="ïsľîďè">
              <a:extLst>
                <a:ext uri="{FF2B5EF4-FFF2-40B4-BE49-F238E27FC236}">
                  <a16:creationId xmlns:a16="http://schemas.microsoft.com/office/drawing/2014/main" id="{38F03638-A3BB-432A-8A6B-4A79A9BBCB90}"/>
                </a:ext>
              </a:extLst>
            </p:cNvPr>
            <p:cNvSpPr/>
            <p:nvPr userDrawn="1"/>
          </p:nvSpPr>
          <p:spPr bwMode="auto">
            <a:xfrm>
              <a:off x="8869902" y="1936395"/>
              <a:ext cx="2403630" cy="1034747"/>
            </a:xfrm>
            <a:custGeom>
              <a:avLst/>
              <a:gdLst>
                <a:gd name="T0" fmla="*/ 607 w 751"/>
                <a:gd name="T1" fmla="*/ 177 h 324"/>
                <a:gd name="T2" fmla="*/ 525 w 751"/>
                <a:gd name="T3" fmla="*/ 202 h 324"/>
                <a:gd name="T4" fmla="*/ 462 w 751"/>
                <a:gd name="T5" fmla="*/ 166 h 324"/>
                <a:gd name="T6" fmla="*/ 464 w 751"/>
                <a:gd name="T7" fmla="*/ 145 h 324"/>
                <a:gd name="T8" fmla="*/ 319 w 751"/>
                <a:gd name="T9" fmla="*/ 0 h 324"/>
                <a:gd name="T10" fmla="*/ 174 w 751"/>
                <a:gd name="T11" fmla="*/ 145 h 324"/>
                <a:gd name="T12" fmla="*/ 178 w 751"/>
                <a:gd name="T13" fmla="*/ 179 h 324"/>
                <a:gd name="T14" fmla="*/ 145 w 751"/>
                <a:gd name="T15" fmla="*/ 177 h 324"/>
                <a:gd name="T16" fmla="*/ 0 w 751"/>
                <a:gd name="T17" fmla="*/ 324 h 324"/>
                <a:gd name="T18" fmla="*/ 751 w 751"/>
                <a:gd name="T19" fmla="*/ 324 h 324"/>
                <a:gd name="T20" fmla="*/ 607 w 751"/>
                <a:gd name="T21" fmla="*/ 177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1" h="324">
                  <a:moveTo>
                    <a:pt x="607" y="177"/>
                  </a:moveTo>
                  <a:cubicBezTo>
                    <a:pt x="576" y="177"/>
                    <a:pt x="548" y="186"/>
                    <a:pt x="525" y="202"/>
                  </a:cubicBezTo>
                  <a:cubicBezTo>
                    <a:pt x="509" y="184"/>
                    <a:pt x="487" y="171"/>
                    <a:pt x="462" y="166"/>
                  </a:cubicBezTo>
                  <a:cubicBezTo>
                    <a:pt x="463" y="160"/>
                    <a:pt x="464" y="152"/>
                    <a:pt x="464" y="145"/>
                  </a:cubicBezTo>
                  <a:cubicBezTo>
                    <a:pt x="464" y="65"/>
                    <a:pt x="399" y="0"/>
                    <a:pt x="319" y="0"/>
                  </a:cubicBezTo>
                  <a:cubicBezTo>
                    <a:pt x="239" y="0"/>
                    <a:pt x="174" y="65"/>
                    <a:pt x="174" y="145"/>
                  </a:cubicBezTo>
                  <a:cubicBezTo>
                    <a:pt x="174" y="157"/>
                    <a:pt x="176" y="168"/>
                    <a:pt x="178" y="179"/>
                  </a:cubicBezTo>
                  <a:cubicBezTo>
                    <a:pt x="168" y="176"/>
                    <a:pt x="157" y="177"/>
                    <a:pt x="145" y="177"/>
                  </a:cubicBezTo>
                  <a:cubicBezTo>
                    <a:pt x="65" y="177"/>
                    <a:pt x="0" y="236"/>
                    <a:pt x="0" y="324"/>
                  </a:cubicBezTo>
                  <a:cubicBezTo>
                    <a:pt x="751" y="324"/>
                    <a:pt x="751" y="324"/>
                    <a:pt x="751" y="324"/>
                  </a:cubicBezTo>
                  <a:cubicBezTo>
                    <a:pt x="751" y="236"/>
                    <a:pt x="687" y="177"/>
                    <a:pt x="607" y="17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islide.cc/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ṩḻí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sļîḓe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sļíď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ṡlîḑ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slïde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altLang="zh-CN" sz="2400" dirty="0"/>
              <a:t>About PowerPoint</a:t>
            </a:r>
          </a:p>
        </p:txBody>
      </p:sp>
      <p:sp>
        <p:nvSpPr>
          <p:cNvPr id="4" name="iş1îḑê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zh-CN" altLang="en-US" sz="6700" u="sng" dirty="0"/>
              <a:t>新生技术分享会</a:t>
            </a:r>
            <a:endParaRPr lang="zh-CN" altLang="en-US" u="sng" dirty="0"/>
          </a:p>
        </p:txBody>
      </p:sp>
      <p:sp>
        <p:nvSpPr>
          <p:cNvPr id="6" name="îšľîdê"/>
          <p:cNvSpPr>
            <a:spLocks noGrp="1"/>
          </p:cNvSpPr>
          <p:nvPr>
            <p:ph type="body" sz="quarter" idx="10"/>
          </p:nvPr>
        </p:nvSpPr>
        <p:spPr>
          <a:xfrm>
            <a:off x="6943623" y="4641207"/>
            <a:ext cx="4575276" cy="296271"/>
          </a:xfrm>
        </p:spPr>
        <p:txBody>
          <a:bodyPr/>
          <a:lstStyle/>
          <a:p>
            <a:r>
              <a:rPr lang="zh-CN" altLang="en-US" sz="2400" dirty="0">
                <a:solidFill>
                  <a:schemeClr val="bg1"/>
                </a:solidFill>
              </a:rPr>
              <a:t>李泽浩 </a:t>
            </a:r>
            <a:r>
              <a:rPr lang="en-US" altLang="zh-CN" sz="2400" dirty="0">
                <a:solidFill>
                  <a:schemeClr val="bg1"/>
                </a:solidFill>
              </a:rPr>
              <a:t>18SE </a:t>
            </a:r>
            <a:r>
              <a:rPr lang="zh-CN" altLang="en-US" sz="2400" dirty="0">
                <a:solidFill>
                  <a:schemeClr val="bg1"/>
                </a:solidFill>
              </a:rPr>
              <a:t>科学技术协会</a:t>
            </a:r>
            <a:endParaRPr lang="en-US" altLang="zh-CN" sz="2400" dirty="0">
              <a:solidFill>
                <a:schemeClr val="bg1"/>
              </a:solidFill>
            </a:endParaRPr>
          </a:p>
        </p:txBody>
      </p:sp>
      <p:sp>
        <p:nvSpPr>
          <p:cNvPr id="7" name="îşḻïďê"/>
          <p:cNvSpPr>
            <a:spLocks noGrp="1"/>
          </p:cNvSpPr>
          <p:nvPr>
            <p:ph type="body" sz="quarter" idx="11"/>
          </p:nvPr>
        </p:nvSpPr>
        <p:spPr>
          <a:xfrm>
            <a:off x="6943623" y="5084763"/>
            <a:ext cx="4575276" cy="296271"/>
          </a:xfrm>
        </p:spPr>
        <p:txBody>
          <a:bodyPr/>
          <a:lstStyle/>
          <a:p>
            <a:r>
              <a:rPr lang="en-US" altLang="zh-CN" sz="2400" dirty="0">
                <a:solidFill>
                  <a:schemeClr val="bg1"/>
                </a:solidFill>
              </a:rPr>
              <a:t>2019.9.21</a:t>
            </a:r>
            <a:endParaRPr lang="en-US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504712" y="3117658"/>
            <a:ext cx="4791228" cy="895350"/>
          </a:xfrm>
        </p:spPr>
        <p:txBody>
          <a:bodyPr>
            <a:normAutofit/>
          </a:bodyPr>
          <a:lstStyle/>
          <a:p>
            <a:r>
              <a:rPr lang="en-US" altLang="zh-CN" sz="4400" dirty="0" err="1"/>
              <a:t>iSlide</a:t>
            </a:r>
            <a:r>
              <a:rPr lang="zh-CN" altLang="en-US" sz="4400" dirty="0"/>
              <a:t>介绍</a:t>
            </a:r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20914" y="2598058"/>
            <a:ext cx="1970625" cy="21985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290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62F25C-34F9-4C10-BEDE-4CE69A432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什么是</a:t>
            </a:r>
            <a:r>
              <a:rPr lang="en-US" altLang="zh-CN" dirty="0" err="1"/>
              <a:t>iSlide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158D0B0-B7ED-4949-9679-1133356C6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460F296-289A-4C2E-94FC-59AD4114C4DB}"/>
              </a:ext>
            </a:extLst>
          </p:cNvPr>
          <p:cNvSpPr txBox="1"/>
          <p:nvPr/>
        </p:nvSpPr>
        <p:spPr>
          <a:xfrm>
            <a:off x="669924" y="1350340"/>
            <a:ext cx="6494085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 err="1"/>
              <a:t>iSlide</a:t>
            </a:r>
            <a:r>
              <a:rPr lang="zh-CN" altLang="en-US" sz="2800" dirty="0"/>
              <a:t>是一款基于</a:t>
            </a:r>
            <a:r>
              <a:rPr lang="en-US" altLang="zh-CN" sz="2800" dirty="0"/>
              <a:t>PowerPoint</a:t>
            </a:r>
            <a:r>
              <a:rPr lang="zh-CN" altLang="en-US" sz="2800" dirty="0"/>
              <a:t>的插件工具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zh-CN" altLang="en-US" sz="2800" dirty="0"/>
              <a:t>官方网址</a:t>
            </a:r>
            <a:r>
              <a:rPr lang="en-US" altLang="zh-CN" sz="2800" dirty="0"/>
              <a:t>:</a:t>
            </a:r>
            <a:r>
              <a:rPr lang="en-US" altLang="zh-CN" sz="2800" dirty="0">
                <a:hlinkClick r:id="rId2"/>
              </a:rPr>
              <a:t>https://www.islide.cc/</a:t>
            </a:r>
            <a:endParaRPr lang="zh-CN" altLang="en-US" sz="280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0A332D0-D3AE-45C1-94D6-22EECB3271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15" y="3408841"/>
            <a:ext cx="12192000" cy="2098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711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504712" y="3117658"/>
            <a:ext cx="4791228" cy="895350"/>
          </a:xfrm>
        </p:spPr>
        <p:txBody>
          <a:bodyPr>
            <a:normAutofit/>
          </a:bodyPr>
          <a:lstStyle/>
          <a:p>
            <a:r>
              <a:rPr lang="zh-CN" altLang="en-US" sz="4400" dirty="0"/>
              <a:t>平滑功能</a:t>
            </a:r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20914" y="2598058"/>
            <a:ext cx="1970625" cy="21985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3131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2E474D65-35E4-4731-BF89-B8A5FEF5EF43}"/>
              </a:ext>
            </a:extLst>
          </p:cNvPr>
          <p:cNvSpPr>
            <a:spLocks noChangeAspect="1"/>
          </p:cNvSpPr>
          <p:nvPr/>
        </p:nvSpPr>
        <p:spPr>
          <a:xfrm>
            <a:off x="0" y="-5192485"/>
            <a:ext cx="12192000" cy="1828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33599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1F480419-F803-41E4-A512-28BF29A438BA}"/>
              </a:ext>
            </a:extLst>
          </p:cNvPr>
          <p:cNvSpPr>
            <a:spLocks noChangeAspect="1"/>
          </p:cNvSpPr>
          <p:nvPr/>
        </p:nvSpPr>
        <p:spPr>
          <a:xfrm>
            <a:off x="-624113" y="-11767456"/>
            <a:ext cx="15965714" cy="23948571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61837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>
            <a:extLst>
              <a:ext uri="{FF2B5EF4-FFF2-40B4-BE49-F238E27FC236}">
                <a16:creationId xmlns:a16="http://schemas.microsoft.com/office/drawing/2014/main" id="{F6A575DC-959E-43B2-9F20-BC675C994FF0}"/>
              </a:ext>
            </a:extLst>
          </p:cNvPr>
          <p:cNvSpPr/>
          <p:nvPr/>
        </p:nvSpPr>
        <p:spPr>
          <a:xfrm>
            <a:off x="1320800" y="972457"/>
            <a:ext cx="3831771" cy="40349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07419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>
            <a:extLst>
              <a:ext uri="{FF2B5EF4-FFF2-40B4-BE49-F238E27FC236}">
                <a16:creationId xmlns:a16="http://schemas.microsoft.com/office/drawing/2014/main" id="{A80AB2D5-F9DB-4770-AB3C-7586DB6CDE28}"/>
              </a:ext>
            </a:extLst>
          </p:cNvPr>
          <p:cNvSpPr/>
          <p:nvPr/>
        </p:nvSpPr>
        <p:spPr>
          <a:xfrm>
            <a:off x="9873891" y="4920343"/>
            <a:ext cx="1447251" cy="15239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03225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396 -0.00116 L -0.07396 -0.00116 L -0.12643 0.00093 C -0.13073 0.00139 -0.13516 0.00324 -0.13945 0.00301 C -0.16484 0.00255 -0.19023 0.00023 -0.21562 -0.00116 C -0.22956 -0.00532 -0.24557 -2.22222E-6 -0.25729 -0.01389 C -0.25846 -0.01528 -0.2595 -0.01713 -0.26094 -0.01805 C -0.27187 -0.02523 -0.26745 -0.01991 -0.27643 -0.0243 C -0.27995 -0.02616 -0.28346 -0.0287 -0.28711 -0.03078 C -0.29258 -0.03379 -0.29831 -0.03588 -0.30378 -0.03912 C -0.30547 -0.04028 -0.3069 -0.04236 -0.30846 -0.04352 C -0.31237 -0.04583 -0.31654 -0.04745 -0.32044 -0.04977 C -0.32878 -0.05463 -0.33711 -0.05949 -0.34544 -0.06458 C -0.34987 -0.06736 -0.35417 -0.07014 -0.35846 -0.07315 C -0.3625 -0.07569 -0.36641 -0.07916 -0.37044 -0.08148 C -0.40312 -0.10092 -0.36107 -0.07662 -0.39062 -0.09213 C -0.39818 -0.09606 -0.4056 -0.10139 -0.41328 -0.10486 C -0.41797 -0.10694 -0.42292 -0.10856 -0.4276 -0.11111 C -0.4362 -0.11597 -0.4418 -0.12222 -0.45013 -0.12801 C -0.45247 -0.12986 -0.45508 -0.13009 -0.45729 -0.13241 C -0.46432 -0.13935 -0.47083 -0.14768 -0.4776 -0.15555 C -0.48112 -0.15972 -0.48568 -0.16227 -0.48828 -0.16828 C -0.49101 -0.17477 -0.49375 -0.18125 -0.49661 -0.18727 C -0.49961 -0.19398 -0.50325 -0.19953 -0.50612 -0.20648 C -0.51328 -0.22407 -0.52226 -0.25532 -0.5263 -0.27407 C -0.52838 -0.28333 -0.5306 -0.29236 -0.53229 -0.30162 C -0.53385 -0.30995 -0.5349 -0.31852 -0.53594 -0.32708 C -0.53802 -0.34444 -0.53919 -0.3625 -0.54062 -0.37986 C -0.53945 -0.40949 -0.53945 -0.43935 -0.53711 -0.46875 C -0.53659 -0.47523 -0.52721 -0.51273 -0.52513 -0.51967 C -0.52135 -0.53264 -0.5181 -0.54606 -0.51328 -0.55764 C -0.50716 -0.57222 -0.50312 -0.58287 -0.49544 -0.59583 C -0.4862 -0.61134 -0.47161 -0.62731 -0.46094 -0.63611 C -0.44401 -0.65 -0.44661 -0.64861 -0.42878 -0.65926 C -0.41185 -0.66944 -0.38763 -0.68194 -0.37161 -0.68472 C -0.36328 -0.68611 -0.35495 -0.68727 -0.34661 -0.68889 C -0.30052 -0.69861 -0.34062 -0.69398 -0.28828 -0.69745 C -0.27448 -0.69653 -0.24922 -0.69699 -0.23346 -0.69097 C -0.22253 -0.6868 -0.19453 -0.66389 -0.18945 -0.65926 C -0.18476 -0.65509 -0.17969 -0.65185 -0.17526 -0.64653 L -0.1431 -0.60856 C -0.13828 -0.60301 -0.13281 -0.59884 -0.12878 -0.59166 C -0.11536 -0.56782 -0.12838 -0.58981 -0.11211 -0.5662 C -0.10885 -0.56157 -0.1056 -0.55671 -0.1026 -0.55139 C -0.09726 -0.5419 -0.10365 -0.54699 -0.09661 -0.54282 C -0.09583 -0.53935 -0.09544 -0.53541 -0.09427 -0.53241 C -0.08711 -0.51342 -0.0888 -0.53703 -0.08229 -0.50278 C -0.08112 -0.49629 -0.07838 -0.48333 -0.0776 -0.47523 C -0.07695 -0.46875 -0.07565 -0.4493 -0.07526 -0.44352 C -0.07565 -0.42153 -0.07578 -0.39977 -0.07643 -0.37778 C -0.07656 -0.3743 -0.07695 -0.3706 -0.0776 -0.36736 C -0.07969 -0.35578 -0.0819 -0.3493 -0.08594 -0.33981 C -0.08893 -0.33241 -0.0918 -0.325 -0.09544 -0.31852 C -0.0974 -0.31504 -0.09948 -0.3118 -0.10143 -0.3081 C -0.10677 -0.29745 -0.10508 -0.29791 -0.11094 -0.28889 C -0.11198 -0.28727 -0.11341 -0.28634 -0.11445 -0.28472 C -0.11615 -0.28217 -0.11758 -0.27893 -0.11927 -0.27616 C -0.1207 -0.27384 -0.12253 -0.27222 -0.12396 -0.26991 C -0.12565 -0.26736 -0.12695 -0.26389 -0.12878 -0.26134 C -0.1349 -0.25347 -0.13802 -0.25301 -0.14427 -0.24653 C -0.14674 -0.24398 -0.14883 -0.24051 -0.15143 -0.23819 C -0.16367 -0.22616 -0.17018 -0.22083 -0.18229 -0.21273 C -0.18789 -0.20903 -0.19336 -0.20486 -0.19896 -0.20208 C -0.2125 -0.1956 -0.22096 -0.19537 -0.23476 -0.19166 C -0.23633 -0.1912 -0.23789 -0.18981 -0.23945 -0.18958 C -0.24375 -0.18866 -0.272 -0.18565 -0.27513 -0.18518 C -0.29935 -0.18588 -0.32357 -0.18565 -0.34779 -0.18727 C -0.35221 -0.18773 -0.35651 -0.18981 -0.36094 -0.19166 C -0.36536 -0.19328 -0.36966 -0.1956 -0.37396 -0.19791 C -0.38633 -0.20509 -0.397 -0.2125 -0.40846 -0.22338 C -0.43372 -0.24722 -0.41862 -0.23773 -0.42995 -0.24444 C -0.43776 -0.25486 -0.44805 -0.26759 -0.45495 -0.28055 C -0.45885 -0.28773 -0.46276 -0.29514 -0.46562 -0.3037 C -0.47604 -0.33541 -0.48125 -0.35856 -0.48594 -0.39259 C -0.48737 -0.40393 -0.48828 -0.41528 -0.48945 -0.42662 C -0.48867 -0.44977 -0.48906 -0.47338 -0.48711 -0.49629 C -0.4862 -0.50671 -0.48346 -0.51643 -0.48112 -0.52592 C -0.47865 -0.53611 -0.47617 -0.54629 -0.47279 -0.55555 C -0.46745 -0.57014 -0.45885 -0.5868 -0.45013 -0.59583 C -0.43737 -0.60926 -0.43242 -0.60995 -0.41797 -0.61481 C -0.41133 -0.61713 -0.40456 -0.61944 -0.39779 -0.62129 C -0.38555 -0.62453 -0.36094 -0.62963 -0.36094 -0.62963 C -0.34023 -0.62754 -0.31966 -0.62616 -0.29896 -0.62338 C -0.29453 -0.62268 -0.2901 -0.62153 -0.28594 -0.61921 C -0.28138 -0.61643 -0.27695 -0.61273 -0.27279 -0.60856 C -0.26406 -0.59953 -0.25026 -0.58356 -0.2418 -0.57037 C -0.23932 -0.56643 -0.23685 -0.56227 -0.23476 -0.55764 C -0.23086 -0.54953 -0.22591 -0.53495 -0.22279 -0.52592 C -0.22213 -0.52153 -0.21927 -0.50254 -0.21927 -0.49629 C -0.21927 -0.48356 -0.21953 -0.47083 -0.22044 -0.45833 C -0.2207 -0.45393 -0.22187 -0.44977 -0.22279 -0.4456 C -0.225 -0.43565 -0.22969 -0.425 -0.23346 -0.41805 C -0.23737 -0.41134 -0.24844 -0.39004 -0.25378 -0.38634 C -0.25573 -0.38495 -0.25781 -0.38356 -0.25976 -0.38217 C -0.26289 -0.3794 -0.26588 -0.37569 -0.26927 -0.37361 C -0.2845 -0.36458 -0.26888 -0.37315 -0.28229 -0.36736 C -0.297 -0.36065 -0.28424 -0.36458 -0.29896 -0.36088 C -0.30768 -0.36157 -0.31654 -0.3618 -0.32513 -0.36296 C -0.32643 -0.36319 -0.3276 -0.36458 -0.32878 -0.36504 C -0.33034 -0.36597 -0.3319 -0.36666 -0.33346 -0.36736 C -0.33476 -0.36944 -0.33581 -0.37176 -0.33711 -0.37361 C -0.33815 -0.37523 -0.33958 -0.37616 -0.34062 -0.37778 C -0.34857 -0.3919 -0.33711 -0.37708 -0.34661 -0.38842 C -0.35221 -0.40324 -0.34453 -0.38472 -0.35612 -0.40324 C -0.35807 -0.40625 -0.35898 -0.41088 -0.36094 -0.41389 C -0.37018 -0.42893 -0.39219 -0.44907 -0.39896 -0.45625 C -0.40417 -0.46157 -0.40898 -0.46828 -0.41445 -0.47315 C -0.41927 -0.47731 -0.42422 -0.48102 -0.42878 -0.48588 C -0.43763 -0.49514 -0.4457 -0.50717 -0.45495 -0.51551 C -0.45885 -0.51898 -0.46289 -0.52222 -0.4668 -0.52592 C -0.47604 -0.53495 -0.48424 -0.54768 -0.49427 -0.55347 C -0.51198 -0.56412 -0.49987 -0.55648 -0.53828 -0.59375 C -0.54661 -0.60185 -0.55521 -0.60972 -0.56328 -0.61921 C -0.56445 -0.6206 -0.56549 -0.62222 -0.5668 -0.62338 C -0.57474 -0.63055 -0.58255 -0.63796 -0.59062 -0.64444 C -0.59206 -0.64583 -0.59388 -0.64537 -0.59544 -0.64653 C -0.60664 -0.65532 -0.61758 -0.66528 -0.62878 -0.67407 C -0.62982 -0.675 -0.63112 -0.67546 -0.63229 -0.67616 C -0.65013 -0.69028 -0.66836 -0.70301 -0.68581 -0.71852 C -0.69961 -0.73078 -0.69362 -0.72616 -0.70365 -0.73333 C -0.70286 -0.72616 -0.70247 -0.72129 -0.7013 -0.71435 C -0.70104 -0.71227 -0.70026 -0.71018 -0.70013 -0.7081 C -0.69987 -0.70532 -0.70013 -0.70231 -0.70013 -0.69953 L -0.7013 -0.73541 " pathEditMode="relative" ptsTypes="AAAAAAAAAAAAAAAAAAAAAAAAAAAAAAAAAAAAAAAAAAAAAAAAAAAAAAAAAAAAAAAAAAAAAAAAAAAAAAAAAAAAAAAAAAAAAAAAAAAAAAAAAAAAAAAAAAAAAAAAAA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504712" y="3117658"/>
            <a:ext cx="4791228" cy="895350"/>
          </a:xfrm>
        </p:spPr>
        <p:txBody>
          <a:bodyPr>
            <a:normAutofit/>
          </a:bodyPr>
          <a:lstStyle/>
          <a:p>
            <a:r>
              <a:rPr lang="zh-CN" altLang="en-US" sz="4400" dirty="0"/>
              <a:t>设计灵感</a:t>
            </a:r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20914" y="2598058"/>
            <a:ext cx="1970625" cy="21985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3039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62F25C-34F9-4C10-BEDE-4CE69A432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设计灵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158D0B0-B7ED-4949-9679-1133356C6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634E772-6DD8-4439-B584-6C5AAD4EAA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05" y="5000796"/>
            <a:ext cx="11533333" cy="1342857"/>
          </a:xfrm>
          <a:prstGeom prst="rect">
            <a:avLst/>
          </a:prstGeom>
        </p:spPr>
      </p:pic>
      <p:pic>
        <p:nvPicPr>
          <p:cNvPr id="8" name="Picture 2" descr="https://pic4.zhimg.com/50/v2-41dd090c0d35b0b49d9fbc52d148f3c6_b.jpg">
            <a:extLst>
              <a:ext uri="{FF2B5EF4-FFF2-40B4-BE49-F238E27FC236}">
                <a16:creationId xmlns:a16="http://schemas.microsoft.com/office/drawing/2014/main" id="{2AE7D90D-5FBD-4809-925E-BC327A442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7523" y="1318985"/>
            <a:ext cx="3150025" cy="313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60938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852C44A5-08F7-4F23-B045-A2049544DDC1}"/>
              </a:ext>
            </a:extLst>
          </p:cNvPr>
          <p:cNvSpPr/>
          <p:nvPr/>
        </p:nvSpPr>
        <p:spPr>
          <a:xfrm>
            <a:off x="5109195" y="2967335"/>
            <a:ext cx="197361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请看</a:t>
            </a:r>
            <a:r>
              <a:rPr lang="en-US" altLang="zh-CN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~</a:t>
            </a:r>
            <a:endParaRPr lang="zh-CN" alt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048740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ḷï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ṡḷïḋ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ŝḻíḍ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$ľïḓ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版本区别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安装介绍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800" b="0" dirty="0" err="1">
                    <a:latin typeface="+mn-lt"/>
                    <a:ea typeface="+mn-ea"/>
                    <a:sym typeface="+mn-lt"/>
                  </a:rPr>
                  <a:t>iSlide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平滑功能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设计灵感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布尔运算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ŝlídé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$líd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í$ľiḓ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504712" y="3117658"/>
            <a:ext cx="4791228" cy="895350"/>
          </a:xfrm>
        </p:spPr>
        <p:txBody>
          <a:bodyPr>
            <a:normAutofit/>
          </a:bodyPr>
          <a:lstStyle/>
          <a:p>
            <a:r>
              <a:rPr lang="zh-CN" altLang="en-US" sz="4400" dirty="0"/>
              <a:t>布尔运算</a:t>
            </a:r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20914" y="2598058"/>
            <a:ext cx="1970625" cy="21985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6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1943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>
            <a:extLst>
              <a:ext uri="{FF2B5EF4-FFF2-40B4-BE49-F238E27FC236}">
                <a16:creationId xmlns:a16="http://schemas.microsoft.com/office/drawing/2014/main" id="{0BD14919-71FE-4620-B4D5-AB8B0F3C141F}"/>
              </a:ext>
            </a:extLst>
          </p:cNvPr>
          <p:cNvSpPr/>
          <p:nvPr/>
        </p:nvSpPr>
        <p:spPr>
          <a:xfrm>
            <a:off x="768626" y="1984512"/>
            <a:ext cx="6056243" cy="31275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FB642BB-046A-4BF2-BADF-144343B078F7}"/>
              </a:ext>
            </a:extLst>
          </p:cNvPr>
          <p:cNvSpPr/>
          <p:nvPr/>
        </p:nvSpPr>
        <p:spPr>
          <a:xfrm>
            <a:off x="2292626" y="791817"/>
            <a:ext cx="3087757" cy="312751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2052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>
            <a:extLst>
              <a:ext uri="{FF2B5EF4-FFF2-40B4-BE49-F238E27FC236}">
                <a16:creationId xmlns:a16="http://schemas.microsoft.com/office/drawing/2014/main" id="{0F0FC3EF-D0B8-49EE-ABA0-2A0EBA331AD3}"/>
              </a:ext>
            </a:extLst>
          </p:cNvPr>
          <p:cNvSpPr/>
          <p:nvPr/>
        </p:nvSpPr>
        <p:spPr>
          <a:xfrm>
            <a:off x="3392557" y="583096"/>
            <a:ext cx="2451652" cy="24516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椭圆 2">
            <a:extLst>
              <a:ext uri="{FF2B5EF4-FFF2-40B4-BE49-F238E27FC236}">
                <a16:creationId xmlns:a16="http://schemas.microsoft.com/office/drawing/2014/main" id="{42AF4728-B6F0-4B58-B9B2-6AF8844D782F}"/>
              </a:ext>
            </a:extLst>
          </p:cNvPr>
          <p:cNvSpPr/>
          <p:nvPr/>
        </p:nvSpPr>
        <p:spPr>
          <a:xfrm>
            <a:off x="2279375" y="1537252"/>
            <a:ext cx="2451652" cy="24516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椭圆 3">
            <a:extLst>
              <a:ext uri="{FF2B5EF4-FFF2-40B4-BE49-F238E27FC236}">
                <a16:creationId xmlns:a16="http://schemas.microsoft.com/office/drawing/2014/main" id="{A86B9D28-3A77-42F7-B124-5A173BC09287}"/>
              </a:ext>
            </a:extLst>
          </p:cNvPr>
          <p:cNvSpPr/>
          <p:nvPr/>
        </p:nvSpPr>
        <p:spPr>
          <a:xfrm>
            <a:off x="4306957" y="1537252"/>
            <a:ext cx="2451652" cy="24516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60414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BF63783E-439A-4959-8002-E9BA61F1047D}"/>
              </a:ext>
            </a:extLst>
          </p:cNvPr>
          <p:cNvSpPr>
            <a:spLocks noChangeAspect="1"/>
          </p:cNvSpPr>
          <p:nvPr/>
        </p:nvSpPr>
        <p:spPr>
          <a:xfrm>
            <a:off x="0" y="-1282700"/>
            <a:ext cx="12192000" cy="81407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0F47F871-0142-4258-A01A-0B7E6286455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6222333" y="3509211"/>
                </a:moveTo>
                <a:lnTo>
                  <a:pt x="6399141" y="3509211"/>
                </a:lnTo>
                <a:lnTo>
                  <a:pt x="6399141" y="3658225"/>
                </a:lnTo>
                <a:cubicBezTo>
                  <a:pt x="6352706" y="3648179"/>
                  <a:pt x="6314978" y="3627864"/>
                  <a:pt x="6285957" y="3597280"/>
                </a:cubicBezTo>
                <a:cubicBezTo>
                  <a:pt x="6293324" y="3579421"/>
                  <a:pt x="6300244" y="3560557"/>
                  <a:pt x="6306718" y="3540688"/>
                </a:cubicBezTo>
                <a:close/>
                <a:moveTo>
                  <a:pt x="5159477" y="3505862"/>
                </a:moveTo>
                <a:lnTo>
                  <a:pt x="5304138" y="3505862"/>
                </a:lnTo>
                <a:cubicBezTo>
                  <a:pt x="5274670" y="3525954"/>
                  <a:pt x="5243193" y="3545153"/>
                  <a:pt x="5209707" y="3563459"/>
                </a:cubicBezTo>
                <a:cubicBezTo>
                  <a:pt x="5191401" y="3550064"/>
                  <a:pt x="5174658" y="3535330"/>
                  <a:pt x="5159477" y="3519257"/>
                </a:cubicBezTo>
                <a:close/>
                <a:moveTo>
                  <a:pt x="4957220" y="3505862"/>
                </a:moveTo>
                <a:lnTo>
                  <a:pt x="5073753" y="3505862"/>
                </a:lnTo>
                <a:lnTo>
                  <a:pt x="5073753" y="3557431"/>
                </a:lnTo>
                <a:cubicBezTo>
                  <a:pt x="5055000" y="3565468"/>
                  <a:pt x="5036024" y="3573505"/>
                  <a:pt x="5016825" y="3581541"/>
                </a:cubicBezTo>
                <a:lnTo>
                  <a:pt x="5038927" y="3554752"/>
                </a:lnTo>
                <a:cubicBezTo>
                  <a:pt x="5010351" y="3536446"/>
                  <a:pt x="4983116" y="3520150"/>
                  <a:pt x="4957220" y="3505862"/>
                </a:cubicBezTo>
                <a:close/>
                <a:moveTo>
                  <a:pt x="4473677" y="3505862"/>
                </a:moveTo>
                <a:lnTo>
                  <a:pt x="4618338" y="3505862"/>
                </a:lnTo>
                <a:cubicBezTo>
                  <a:pt x="4588870" y="3525954"/>
                  <a:pt x="4557393" y="3545153"/>
                  <a:pt x="4523906" y="3563459"/>
                </a:cubicBezTo>
                <a:cubicBezTo>
                  <a:pt x="4505601" y="3550064"/>
                  <a:pt x="4488857" y="3535330"/>
                  <a:pt x="4473677" y="3519257"/>
                </a:cubicBezTo>
                <a:close/>
                <a:moveTo>
                  <a:pt x="4271420" y="3505862"/>
                </a:moveTo>
                <a:lnTo>
                  <a:pt x="4387952" y="3505862"/>
                </a:lnTo>
                <a:lnTo>
                  <a:pt x="4387952" y="3557431"/>
                </a:lnTo>
                <a:cubicBezTo>
                  <a:pt x="4369200" y="3565468"/>
                  <a:pt x="4350224" y="3573505"/>
                  <a:pt x="4331025" y="3581541"/>
                </a:cubicBezTo>
                <a:lnTo>
                  <a:pt x="4353126" y="3554752"/>
                </a:lnTo>
                <a:cubicBezTo>
                  <a:pt x="4324552" y="3536446"/>
                  <a:pt x="4297316" y="3520150"/>
                  <a:pt x="4271420" y="3505862"/>
                </a:cubicBezTo>
                <a:close/>
                <a:moveTo>
                  <a:pt x="6107140" y="3432192"/>
                </a:moveTo>
                <a:lnTo>
                  <a:pt x="6107140" y="3509211"/>
                </a:lnTo>
                <a:lnTo>
                  <a:pt x="6220659" y="3509211"/>
                </a:lnTo>
                <a:cubicBezTo>
                  <a:pt x="6194093" y="3594043"/>
                  <a:pt x="6155807" y="3660346"/>
                  <a:pt x="6105800" y="3708120"/>
                </a:cubicBezTo>
                <a:cubicBezTo>
                  <a:pt x="6133482" y="3726872"/>
                  <a:pt x="6158932" y="3745178"/>
                  <a:pt x="6182149" y="3763037"/>
                </a:cubicBezTo>
                <a:cubicBezTo>
                  <a:pt x="6207599" y="3737588"/>
                  <a:pt x="6230593" y="3706557"/>
                  <a:pt x="6251131" y="3669945"/>
                </a:cubicBezTo>
                <a:cubicBezTo>
                  <a:pt x="6297566" y="3718166"/>
                  <a:pt x="6372129" y="3742276"/>
                  <a:pt x="6474820" y="3742276"/>
                </a:cubicBezTo>
                <a:lnTo>
                  <a:pt x="6572600" y="3743615"/>
                </a:lnTo>
                <a:cubicBezTo>
                  <a:pt x="6654307" y="3744731"/>
                  <a:pt x="6711457" y="3744955"/>
                  <a:pt x="6744050" y="3744285"/>
                </a:cubicBezTo>
                <a:cubicBezTo>
                  <a:pt x="6750301" y="3720621"/>
                  <a:pt x="6759007" y="3694279"/>
                  <a:pt x="6770169" y="3665257"/>
                </a:cubicBezTo>
                <a:cubicBezTo>
                  <a:pt x="6703643" y="3666150"/>
                  <a:pt x="6646047" y="3666597"/>
                  <a:pt x="6597380" y="3666597"/>
                </a:cubicBezTo>
                <a:cubicBezTo>
                  <a:pt x="6554741" y="3666597"/>
                  <a:pt x="6518799" y="3666262"/>
                  <a:pt x="6489554" y="3665592"/>
                </a:cubicBezTo>
                <a:lnTo>
                  <a:pt x="6489554" y="3623064"/>
                </a:lnTo>
                <a:lnTo>
                  <a:pt x="6717261" y="3623064"/>
                </a:lnTo>
                <a:lnTo>
                  <a:pt x="6717261" y="3550064"/>
                </a:lnTo>
                <a:lnTo>
                  <a:pt x="6489554" y="3550064"/>
                </a:lnTo>
                <a:lnTo>
                  <a:pt x="6489554" y="3509211"/>
                </a:lnTo>
                <a:lnTo>
                  <a:pt x="6768830" y="3509211"/>
                </a:lnTo>
                <a:lnTo>
                  <a:pt x="6768830" y="3432192"/>
                </a:lnTo>
                <a:close/>
                <a:moveTo>
                  <a:pt x="5159477" y="3415449"/>
                </a:moveTo>
                <a:lnTo>
                  <a:pt x="5257257" y="3415449"/>
                </a:lnTo>
                <a:lnTo>
                  <a:pt x="5257257" y="3448266"/>
                </a:lnTo>
                <a:lnTo>
                  <a:pt x="5159477" y="3448266"/>
                </a:lnTo>
                <a:close/>
                <a:moveTo>
                  <a:pt x="4876852" y="3415449"/>
                </a:moveTo>
                <a:lnTo>
                  <a:pt x="5073753" y="3415449"/>
                </a:lnTo>
                <a:lnTo>
                  <a:pt x="5073753" y="3448266"/>
                </a:lnTo>
                <a:lnTo>
                  <a:pt x="4901632" y="3448266"/>
                </a:lnTo>
                <a:lnTo>
                  <a:pt x="4901632" y="3505862"/>
                </a:lnTo>
                <a:lnTo>
                  <a:pt x="4927082" y="3505862"/>
                </a:lnTo>
                <a:lnTo>
                  <a:pt x="4893596" y="3548725"/>
                </a:lnTo>
                <a:cubicBezTo>
                  <a:pt x="4918599" y="3564352"/>
                  <a:pt x="4944048" y="3581541"/>
                  <a:pt x="4969944" y="3600294"/>
                </a:cubicBezTo>
                <a:cubicBezTo>
                  <a:pt x="4932440" y="3615028"/>
                  <a:pt x="4894042" y="3629315"/>
                  <a:pt x="4854751" y="3643156"/>
                </a:cubicBezTo>
                <a:cubicBezTo>
                  <a:pt x="4869485" y="3580648"/>
                  <a:pt x="4876852" y="3504746"/>
                  <a:pt x="4876852" y="3415449"/>
                </a:cubicBezTo>
                <a:close/>
                <a:moveTo>
                  <a:pt x="4473677" y="3415449"/>
                </a:moveTo>
                <a:lnTo>
                  <a:pt x="4571457" y="3415449"/>
                </a:lnTo>
                <a:lnTo>
                  <a:pt x="4571457" y="3448266"/>
                </a:lnTo>
                <a:lnTo>
                  <a:pt x="4473677" y="3448266"/>
                </a:lnTo>
                <a:close/>
                <a:moveTo>
                  <a:pt x="4191053" y="3415449"/>
                </a:moveTo>
                <a:lnTo>
                  <a:pt x="4387952" y="3415449"/>
                </a:lnTo>
                <a:lnTo>
                  <a:pt x="4387952" y="3448266"/>
                </a:lnTo>
                <a:lnTo>
                  <a:pt x="4215832" y="3448266"/>
                </a:lnTo>
                <a:lnTo>
                  <a:pt x="4215832" y="3505862"/>
                </a:lnTo>
                <a:lnTo>
                  <a:pt x="4241282" y="3505862"/>
                </a:lnTo>
                <a:lnTo>
                  <a:pt x="4207796" y="3548725"/>
                </a:lnTo>
                <a:cubicBezTo>
                  <a:pt x="4232799" y="3564352"/>
                  <a:pt x="4258249" y="3581541"/>
                  <a:pt x="4284144" y="3600294"/>
                </a:cubicBezTo>
                <a:cubicBezTo>
                  <a:pt x="4246640" y="3615028"/>
                  <a:pt x="4208242" y="3629315"/>
                  <a:pt x="4168952" y="3643156"/>
                </a:cubicBezTo>
                <a:cubicBezTo>
                  <a:pt x="4183686" y="3580648"/>
                  <a:pt x="4191053" y="3504746"/>
                  <a:pt x="4191053" y="3415449"/>
                </a:cubicBezTo>
                <a:close/>
                <a:moveTo>
                  <a:pt x="5428707" y="3333073"/>
                </a:moveTo>
                <a:lnTo>
                  <a:pt x="5428707" y="3423486"/>
                </a:lnTo>
                <a:lnTo>
                  <a:pt x="5503047" y="3423486"/>
                </a:lnTo>
                <a:lnTo>
                  <a:pt x="5503047" y="3589913"/>
                </a:lnTo>
                <a:lnTo>
                  <a:pt x="5420670" y="3652532"/>
                </a:lnTo>
                <a:lnTo>
                  <a:pt x="5458175" y="3759019"/>
                </a:lnTo>
                <a:cubicBezTo>
                  <a:pt x="5490768" y="3725086"/>
                  <a:pt x="5520237" y="3695618"/>
                  <a:pt x="5546579" y="3670615"/>
                </a:cubicBezTo>
                <a:cubicBezTo>
                  <a:pt x="5560197" y="3689144"/>
                  <a:pt x="5578279" y="3703990"/>
                  <a:pt x="5600827" y="3715152"/>
                </a:cubicBezTo>
                <a:cubicBezTo>
                  <a:pt x="5623374" y="3726314"/>
                  <a:pt x="5646647" y="3733402"/>
                  <a:pt x="5670646" y="3736416"/>
                </a:cubicBezTo>
                <a:cubicBezTo>
                  <a:pt x="5694644" y="3739429"/>
                  <a:pt x="5745376" y="3741271"/>
                  <a:pt x="5822841" y="3741941"/>
                </a:cubicBezTo>
                <a:lnTo>
                  <a:pt x="6054232" y="3743615"/>
                </a:lnTo>
                <a:cubicBezTo>
                  <a:pt x="6062715" y="3713701"/>
                  <a:pt x="6072761" y="3683340"/>
                  <a:pt x="6084369" y="3652532"/>
                </a:cubicBezTo>
                <a:cubicBezTo>
                  <a:pt x="5974981" y="3653872"/>
                  <a:pt x="5890260" y="3654542"/>
                  <a:pt x="5830209" y="3654542"/>
                </a:cubicBezTo>
                <a:lnTo>
                  <a:pt x="5733433" y="3653202"/>
                </a:lnTo>
                <a:cubicBezTo>
                  <a:pt x="5678068" y="3653202"/>
                  <a:pt x="5632081" y="3636459"/>
                  <a:pt x="5595469" y="3602973"/>
                </a:cubicBezTo>
                <a:lnTo>
                  <a:pt x="5595469" y="3333073"/>
                </a:lnTo>
                <a:close/>
                <a:moveTo>
                  <a:pt x="5159477" y="3315660"/>
                </a:moveTo>
                <a:lnTo>
                  <a:pt x="5257257" y="3315660"/>
                </a:lnTo>
                <a:lnTo>
                  <a:pt x="5257257" y="3348477"/>
                </a:lnTo>
                <a:lnTo>
                  <a:pt x="5159477" y="3348477"/>
                </a:lnTo>
                <a:close/>
                <a:moveTo>
                  <a:pt x="4473677" y="3315660"/>
                </a:moveTo>
                <a:lnTo>
                  <a:pt x="4571457" y="3315660"/>
                </a:lnTo>
                <a:lnTo>
                  <a:pt x="4571457" y="3348477"/>
                </a:lnTo>
                <a:lnTo>
                  <a:pt x="4473677" y="3348477"/>
                </a:lnTo>
                <a:close/>
                <a:moveTo>
                  <a:pt x="6277250" y="3289541"/>
                </a:moveTo>
                <a:lnTo>
                  <a:pt x="6598050" y="3289541"/>
                </a:lnTo>
                <a:lnTo>
                  <a:pt x="6598050" y="3325706"/>
                </a:lnTo>
                <a:lnTo>
                  <a:pt x="6277250" y="3325706"/>
                </a:lnTo>
                <a:close/>
                <a:moveTo>
                  <a:pt x="4876852" y="3221228"/>
                </a:moveTo>
                <a:lnTo>
                  <a:pt x="5073753" y="3221228"/>
                </a:lnTo>
                <a:lnTo>
                  <a:pt x="5073753" y="3258063"/>
                </a:lnTo>
                <a:lnTo>
                  <a:pt x="4911678" y="3258063"/>
                </a:lnTo>
                <a:lnTo>
                  <a:pt x="4911678" y="3315660"/>
                </a:lnTo>
                <a:lnTo>
                  <a:pt x="5073753" y="3315660"/>
                </a:lnTo>
                <a:lnTo>
                  <a:pt x="5073753" y="3348477"/>
                </a:lnTo>
                <a:lnTo>
                  <a:pt x="4876852" y="3348477"/>
                </a:lnTo>
                <a:close/>
                <a:moveTo>
                  <a:pt x="4191053" y="3221228"/>
                </a:moveTo>
                <a:lnTo>
                  <a:pt x="4387952" y="3221228"/>
                </a:lnTo>
                <a:lnTo>
                  <a:pt x="4387952" y="3258063"/>
                </a:lnTo>
                <a:lnTo>
                  <a:pt x="4225878" y="3258063"/>
                </a:lnTo>
                <a:lnTo>
                  <a:pt x="4225878" y="3315660"/>
                </a:lnTo>
                <a:lnTo>
                  <a:pt x="4387952" y="3315660"/>
                </a:lnTo>
                <a:lnTo>
                  <a:pt x="4387952" y="3348477"/>
                </a:lnTo>
                <a:lnTo>
                  <a:pt x="4191053" y="3348477"/>
                </a:lnTo>
                <a:close/>
                <a:moveTo>
                  <a:pt x="7944200" y="3217880"/>
                </a:moveTo>
                <a:cubicBezTo>
                  <a:pt x="7762704" y="3451391"/>
                  <a:pt x="7619829" y="3595382"/>
                  <a:pt x="7515575" y="3649854"/>
                </a:cubicBezTo>
                <a:lnTo>
                  <a:pt x="7561786" y="3747634"/>
                </a:lnTo>
                <a:cubicBezTo>
                  <a:pt x="7599737" y="3737811"/>
                  <a:pt x="7642153" y="3731672"/>
                  <a:pt x="7689034" y="3729216"/>
                </a:cubicBezTo>
                <a:lnTo>
                  <a:pt x="8021888" y="3709124"/>
                </a:lnTo>
                <a:lnTo>
                  <a:pt x="8053365" y="3761698"/>
                </a:lnTo>
                <a:lnTo>
                  <a:pt x="8147127" y="3704771"/>
                </a:lnTo>
                <a:cubicBezTo>
                  <a:pt x="8090870" y="3619046"/>
                  <a:pt x="8029925" y="3536000"/>
                  <a:pt x="7964292" y="3455633"/>
                </a:cubicBezTo>
                <a:lnTo>
                  <a:pt x="7886604" y="3506532"/>
                </a:lnTo>
                <a:cubicBezTo>
                  <a:pt x="7913616" y="3543590"/>
                  <a:pt x="7940293" y="3582100"/>
                  <a:pt x="7966636" y="3622060"/>
                </a:cubicBezTo>
                <a:lnTo>
                  <a:pt x="7691043" y="3637798"/>
                </a:lnTo>
                <a:cubicBezTo>
                  <a:pt x="7813380" y="3527963"/>
                  <a:pt x="7930805" y="3409868"/>
                  <a:pt x="8043320" y="3283513"/>
                </a:cubicBezTo>
                <a:close/>
                <a:moveTo>
                  <a:pt x="6277250" y="3194439"/>
                </a:moveTo>
                <a:lnTo>
                  <a:pt x="6598050" y="3194439"/>
                </a:lnTo>
                <a:lnTo>
                  <a:pt x="6598050" y="3230605"/>
                </a:lnTo>
                <a:lnTo>
                  <a:pt x="6277250" y="3230605"/>
                </a:lnTo>
                <a:close/>
                <a:moveTo>
                  <a:pt x="6184158" y="3120100"/>
                </a:moveTo>
                <a:lnTo>
                  <a:pt x="6184158" y="3400046"/>
                </a:lnTo>
                <a:lnTo>
                  <a:pt x="6691142" y="3400046"/>
                </a:lnTo>
                <a:lnTo>
                  <a:pt x="6691142" y="3120100"/>
                </a:lnTo>
                <a:close/>
                <a:moveTo>
                  <a:pt x="5519120" y="3103357"/>
                </a:moveTo>
                <a:lnTo>
                  <a:pt x="5443441" y="3148898"/>
                </a:lnTo>
                <a:cubicBezTo>
                  <a:pt x="5467105" y="3185510"/>
                  <a:pt x="5494787" y="3229935"/>
                  <a:pt x="5526487" y="3282174"/>
                </a:cubicBezTo>
                <a:lnTo>
                  <a:pt x="5607524" y="3231274"/>
                </a:lnTo>
                <a:cubicBezTo>
                  <a:pt x="5578502" y="3187519"/>
                  <a:pt x="5549035" y="3144880"/>
                  <a:pt x="5519120" y="3103357"/>
                </a:cubicBezTo>
                <a:close/>
                <a:moveTo>
                  <a:pt x="7176693" y="3099338"/>
                </a:moveTo>
                <a:lnTo>
                  <a:pt x="7176693" y="3309633"/>
                </a:lnTo>
                <a:lnTo>
                  <a:pt x="7002564" y="3309633"/>
                </a:lnTo>
                <a:lnTo>
                  <a:pt x="7002564" y="3399376"/>
                </a:lnTo>
                <a:lnTo>
                  <a:pt x="7176693" y="3399376"/>
                </a:lnTo>
                <a:lnTo>
                  <a:pt x="7176693" y="3761028"/>
                </a:lnTo>
                <a:lnTo>
                  <a:pt x="7277152" y="3761028"/>
                </a:lnTo>
                <a:lnTo>
                  <a:pt x="7277152" y="3399376"/>
                </a:lnTo>
                <a:lnTo>
                  <a:pt x="7455300" y="3399376"/>
                </a:lnTo>
                <a:lnTo>
                  <a:pt x="7455300" y="3309633"/>
                </a:lnTo>
                <a:lnTo>
                  <a:pt x="7277152" y="3309633"/>
                </a:lnTo>
                <a:lnTo>
                  <a:pt x="7277152" y="3099338"/>
                </a:lnTo>
                <a:close/>
                <a:moveTo>
                  <a:pt x="7771411" y="3097999"/>
                </a:moveTo>
                <a:cubicBezTo>
                  <a:pt x="7691936" y="3204709"/>
                  <a:pt x="7598175" y="3296908"/>
                  <a:pt x="7490125" y="3374596"/>
                </a:cubicBezTo>
                <a:cubicBezTo>
                  <a:pt x="7521826" y="3402724"/>
                  <a:pt x="7547722" y="3429513"/>
                  <a:pt x="7567814" y="3454963"/>
                </a:cubicBezTo>
                <a:cubicBezTo>
                  <a:pt x="7678095" y="3368792"/>
                  <a:pt x="7778554" y="3269449"/>
                  <a:pt x="7869191" y="3156935"/>
                </a:cubicBezTo>
                <a:close/>
                <a:moveTo>
                  <a:pt x="5864029" y="3096659"/>
                </a:moveTo>
                <a:lnTo>
                  <a:pt x="5766920" y="3124118"/>
                </a:lnTo>
                <a:cubicBezTo>
                  <a:pt x="5775402" y="3144210"/>
                  <a:pt x="5785114" y="3169213"/>
                  <a:pt x="5796052" y="3199127"/>
                </a:cubicBezTo>
                <a:lnTo>
                  <a:pt x="5625607" y="3199127"/>
                </a:lnTo>
                <a:lnTo>
                  <a:pt x="5625607" y="3280164"/>
                </a:lnTo>
                <a:lnTo>
                  <a:pt x="5906222" y="3280164"/>
                </a:lnTo>
                <a:cubicBezTo>
                  <a:pt x="5897292" y="3321911"/>
                  <a:pt x="5879210" y="3359974"/>
                  <a:pt x="5851974" y="3394353"/>
                </a:cubicBezTo>
                <a:lnTo>
                  <a:pt x="5714681" y="3288201"/>
                </a:lnTo>
                <a:lnTo>
                  <a:pt x="5657753" y="3348477"/>
                </a:lnTo>
                <a:cubicBezTo>
                  <a:pt x="5698384" y="3381963"/>
                  <a:pt x="5741358" y="3418463"/>
                  <a:pt x="5786676" y="3457977"/>
                </a:cubicBezTo>
                <a:cubicBezTo>
                  <a:pt x="5742251" y="3491910"/>
                  <a:pt x="5686105" y="3521266"/>
                  <a:pt x="5618240" y="3546046"/>
                </a:cubicBezTo>
                <a:cubicBezTo>
                  <a:pt x="5644136" y="3584444"/>
                  <a:pt x="5662888" y="3613688"/>
                  <a:pt x="5674497" y="3633780"/>
                </a:cubicBezTo>
                <a:cubicBezTo>
                  <a:pt x="5747274" y="3603642"/>
                  <a:pt x="5808554" y="3566249"/>
                  <a:pt x="5858337" y="3521601"/>
                </a:cubicBezTo>
                <a:cubicBezTo>
                  <a:pt x="5896957" y="3555980"/>
                  <a:pt x="5937029" y="3592480"/>
                  <a:pt x="5978552" y="3631101"/>
                </a:cubicBezTo>
                <a:lnTo>
                  <a:pt x="6055571" y="3555422"/>
                </a:lnTo>
                <a:lnTo>
                  <a:pt x="5923635" y="3450610"/>
                </a:lnTo>
                <a:cubicBezTo>
                  <a:pt x="5961140" y="3400604"/>
                  <a:pt x="5987817" y="3343789"/>
                  <a:pt x="6003667" y="3280164"/>
                </a:cubicBezTo>
                <a:lnTo>
                  <a:pt x="6069635" y="3280164"/>
                </a:lnTo>
                <a:lnTo>
                  <a:pt x="6069635" y="3199127"/>
                </a:lnTo>
                <a:lnTo>
                  <a:pt x="5901869" y="3199127"/>
                </a:lnTo>
                <a:cubicBezTo>
                  <a:pt x="5888922" y="3158274"/>
                  <a:pt x="5876308" y="3124118"/>
                  <a:pt x="5864029" y="3096659"/>
                </a:cubicBezTo>
                <a:close/>
                <a:moveTo>
                  <a:pt x="5133358" y="3096659"/>
                </a:moveTo>
                <a:lnTo>
                  <a:pt x="5014816" y="3107375"/>
                </a:lnTo>
                <a:cubicBezTo>
                  <a:pt x="5023299" y="3123002"/>
                  <a:pt x="5030443" y="3136843"/>
                  <a:pt x="5036247" y="3148898"/>
                </a:cubicBezTo>
                <a:lnTo>
                  <a:pt x="4788449" y="3148898"/>
                </a:lnTo>
                <a:lnTo>
                  <a:pt x="4788449" y="3392679"/>
                </a:lnTo>
                <a:cubicBezTo>
                  <a:pt x="4790234" y="3528410"/>
                  <a:pt x="4771482" y="3631101"/>
                  <a:pt x="4732191" y="3700753"/>
                </a:cubicBezTo>
                <a:cubicBezTo>
                  <a:pt x="4754516" y="3716380"/>
                  <a:pt x="4779742" y="3737588"/>
                  <a:pt x="4807871" y="3764377"/>
                </a:cubicBezTo>
                <a:cubicBezTo>
                  <a:pt x="4826623" y="3733569"/>
                  <a:pt x="4841580" y="3695618"/>
                  <a:pt x="4852742" y="3650523"/>
                </a:cubicBezTo>
                <a:lnTo>
                  <a:pt x="4884889" y="3722184"/>
                </a:lnTo>
                <a:cubicBezTo>
                  <a:pt x="4947397" y="3691823"/>
                  <a:pt x="5010351" y="3662132"/>
                  <a:pt x="5073753" y="3633110"/>
                </a:cubicBezTo>
                <a:lnTo>
                  <a:pt x="5073753" y="3647844"/>
                </a:lnTo>
                <a:cubicBezTo>
                  <a:pt x="5073753" y="3672401"/>
                  <a:pt x="5063036" y="3685126"/>
                  <a:pt x="5041605" y="3686019"/>
                </a:cubicBezTo>
                <a:cubicBezTo>
                  <a:pt x="5019281" y="3685572"/>
                  <a:pt x="4998966" y="3684233"/>
                  <a:pt x="4980660" y="3682000"/>
                </a:cubicBezTo>
                <a:cubicBezTo>
                  <a:pt x="4986464" y="3705664"/>
                  <a:pt x="4992045" y="3733569"/>
                  <a:pt x="4997403" y="3765716"/>
                </a:cubicBezTo>
                <a:cubicBezTo>
                  <a:pt x="5025532" y="3765716"/>
                  <a:pt x="5054107" y="3764823"/>
                  <a:pt x="5083128" y="3763037"/>
                </a:cubicBezTo>
                <a:cubicBezTo>
                  <a:pt x="5134027" y="3759912"/>
                  <a:pt x="5159477" y="3728658"/>
                  <a:pt x="5159477" y="3669276"/>
                </a:cubicBezTo>
                <a:lnTo>
                  <a:pt x="5159477" y="3617707"/>
                </a:lnTo>
                <a:cubicBezTo>
                  <a:pt x="5210823" y="3665927"/>
                  <a:pt x="5273330" y="3704771"/>
                  <a:pt x="5347000" y="3734239"/>
                </a:cubicBezTo>
                <a:cubicBezTo>
                  <a:pt x="5365753" y="3700753"/>
                  <a:pt x="5383389" y="3671731"/>
                  <a:pt x="5399909" y="3647175"/>
                </a:cubicBezTo>
                <a:cubicBezTo>
                  <a:pt x="5356154" y="3637352"/>
                  <a:pt x="5316416" y="3623734"/>
                  <a:pt x="5280698" y="3606321"/>
                </a:cubicBezTo>
                <a:cubicBezTo>
                  <a:pt x="5313291" y="3589801"/>
                  <a:pt x="5344991" y="3573058"/>
                  <a:pt x="5375799" y="3556092"/>
                </a:cubicBezTo>
                <a:lnTo>
                  <a:pt x="5334946" y="3505862"/>
                </a:lnTo>
                <a:lnTo>
                  <a:pt x="5340303" y="3505862"/>
                </a:lnTo>
                <a:lnTo>
                  <a:pt x="5340303" y="3415449"/>
                </a:lnTo>
                <a:lnTo>
                  <a:pt x="5395221" y="3415449"/>
                </a:lnTo>
                <a:lnTo>
                  <a:pt x="5395221" y="3348477"/>
                </a:lnTo>
                <a:lnTo>
                  <a:pt x="5340303" y="3348477"/>
                </a:lnTo>
                <a:lnTo>
                  <a:pt x="5340303" y="3258063"/>
                </a:lnTo>
                <a:lnTo>
                  <a:pt x="5159477" y="3258063"/>
                </a:lnTo>
                <a:lnTo>
                  <a:pt x="5159477" y="3221228"/>
                </a:lnTo>
                <a:lnTo>
                  <a:pt x="5389863" y="3221228"/>
                </a:lnTo>
                <a:lnTo>
                  <a:pt x="5389863" y="3148898"/>
                </a:lnTo>
                <a:lnTo>
                  <a:pt x="5155459" y="3148898"/>
                </a:lnTo>
                <a:cubicBezTo>
                  <a:pt x="5146083" y="3127020"/>
                  <a:pt x="5138715" y="3109608"/>
                  <a:pt x="5133358" y="3096659"/>
                </a:cubicBezTo>
                <a:close/>
                <a:moveTo>
                  <a:pt x="4447558" y="3096659"/>
                </a:moveTo>
                <a:lnTo>
                  <a:pt x="4329016" y="3107375"/>
                </a:lnTo>
                <a:cubicBezTo>
                  <a:pt x="4337499" y="3123002"/>
                  <a:pt x="4344643" y="3136843"/>
                  <a:pt x="4350447" y="3148898"/>
                </a:cubicBezTo>
                <a:lnTo>
                  <a:pt x="4102649" y="3148898"/>
                </a:lnTo>
                <a:lnTo>
                  <a:pt x="4102649" y="3392679"/>
                </a:lnTo>
                <a:cubicBezTo>
                  <a:pt x="4104435" y="3528410"/>
                  <a:pt x="4085682" y="3631101"/>
                  <a:pt x="4046392" y="3700753"/>
                </a:cubicBezTo>
                <a:cubicBezTo>
                  <a:pt x="4068716" y="3716380"/>
                  <a:pt x="4093942" y="3737588"/>
                  <a:pt x="4122070" y="3764377"/>
                </a:cubicBezTo>
                <a:cubicBezTo>
                  <a:pt x="4140823" y="3733569"/>
                  <a:pt x="4155780" y="3695618"/>
                  <a:pt x="4166942" y="3650523"/>
                </a:cubicBezTo>
                <a:lnTo>
                  <a:pt x="4199090" y="3722184"/>
                </a:lnTo>
                <a:cubicBezTo>
                  <a:pt x="4261597" y="3691823"/>
                  <a:pt x="4324552" y="3662132"/>
                  <a:pt x="4387952" y="3633110"/>
                </a:cubicBezTo>
                <a:lnTo>
                  <a:pt x="4387952" y="3647844"/>
                </a:lnTo>
                <a:cubicBezTo>
                  <a:pt x="4387952" y="3672401"/>
                  <a:pt x="4377237" y="3685126"/>
                  <a:pt x="4355805" y="3686019"/>
                </a:cubicBezTo>
                <a:cubicBezTo>
                  <a:pt x="4333481" y="3685572"/>
                  <a:pt x="4313166" y="3684233"/>
                  <a:pt x="4294860" y="3682000"/>
                </a:cubicBezTo>
                <a:cubicBezTo>
                  <a:pt x="4300664" y="3705664"/>
                  <a:pt x="4306245" y="3733569"/>
                  <a:pt x="4311603" y="3765716"/>
                </a:cubicBezTo>
                <a:cubicBezTo>
                  <a:pt x="4339732" y="3765716"/>
                  <a:pt x="4368307" y="3764823"/>
                  <a:pt x="4397328" y="3763037"/>
                </a:cubicBezTo>
                <a:cubicBezTo>
                  <a:pt x="4448227" y="3759912"/>
                  <a:pt x="4473677" y="3728658"/>
                  <a:pt x="4473677" y="3669276"/>
                </a:cubicBezTo>
                <a:lnTo>
                  <a:pt x="4473677" y="3617707"/>
                </a:lnTo>
                <a:cubicBezTo>
                  <a:pt x="4525023" y="3665927"/>
                  <a:pt x="4587531" y="3704771"/>
                  <a:pt x="4661200" y="3734239"/>
                </a:cubicBezTo>
                <a:cubicBezTo>
                  <a:pt x="4679953" y="3700753"/>
                  <a:pt x="4697589" y="3671731"/>
                  <a:pt x="4714109" y="3647175"/>
                </a:cubicBezTo>
                <a:cubicBezTo>
                  <a:pt x="4670353" y="3637352"/>
                  <a:pt x="4630616" y="3623734"/>
                  <a:pt x="4594898" y="3606321"/>
                </a:cubicBezTo>
                <a:cubicBezTo>
                  <a:pt x="4627491" y="3589801"/>
                  <a:pt x="4659192" y="3573058"/>
                  <a:pt x="4689999" y="3556092"/>
                </a:cubicBezTo>
                <a:lnTo>
                  <a:pt x="4649145" y="3505862"/>
                </a:lnTo>
                <a:lnTo>
                  <a:pt x="4654503" y="3505862"/>
                </a:lnTo>
                <a:lnTo>
                  <a:pt x="4654503" y="3415449"/>
                </a:lnTo>
                <a:lnTo>
                  <a:pt x="4709421" y="3415449"/>
                </a:lnTo>
                <a:lnTo>
                  <a:pt x="4709421" y="3348477"/>
                </a:lnTo>
                <a:lnTo>
                  <a:pt x="4654503" y="3348477"/>
                </a:lnTo>
                <a:lnTo>
                  <a:pt x="4654503" y="3258063"/>
                </a:lnTo>
                <a:lnTo>
                  <a:pt x="4473677" y="3258063"/>
                </a:lnTo>
                <a:lnTo>
                  <a:pt x="4473677" y="3221228"/>
                </a:lnTo>
                <a:lnTo>
                  <a:pt x="4704063" y="3221228"/>
                </a:lnTo>
                <a:lnTo>
                  <a:pt x="4704063" y="3148898"/>
                </a:lnTo>
                <a:lnTo>
                  <a:pt x="4469659" y="3148898"/>
                </a:lnTo>
                <a:cubicBezTo>
                  <a:pt x="4460283" y="3127020"/>
                  <a:pt x="4452915" y="3109608"/>
                  <a:pt x="4447558" y="3096659"/>
                </a:cubicBezTo>
                <a:close/>
                <a:moveTo>
                  <a:pt x="6930904" y="3095990"/>
                </a:moveTo>
                <a:cubicBezTo>
                  <a:pt x="6892953" y="3204485"/>
                  <a:pt x="6845848" y="3304052"/>
                  <a:pt x="6789591" y="3394688"/>
                </a:cubicBezTo>
                <a:cubicBezTo>
                  <a:pt x="6802539" y="3442461"/>
                  <a:pt x="6813255" y="3484654"/>
                  <a:pt x="6821738" y="3521266"/>
                </a:cubicBezTo>
                <a:cubicBezTo>
                  <a:pt x="6843393" y="3490235"/>
                  <a:pt x="6863931" y="3458758"/>
                  <a:pt x="6883353" y="3426835"/>
                </a:cubicBezTo>
                <a:lnTo>
                  <a:pt x="6883353" y="3761698"/>
                </a:lnTo>
                <a:lnTo>
                  <a:pt x="6974436" y="3761698"/>
                </a:lnTo>
                <a:lnTo>
                  <a:pt x="6974436" y="3253375"/>
                </a:lnTo>
                <a:cubicBezTo>
                  <a:pt x="6993412" y="3211183"/>
                  <a:pt x="7010601" y="3168097"/>
                  <a:pt x="7026005" y="312411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 w="10160">
            <a:solidFill>
              <a:schemeClr val="accent5"/>
            </a:solidFill>
            <a:prstDash val="solid"/>
          </a:ln>
          <a:effectLst>
            <a:outerShdw blurRad="38100" dist="22860" dir="5400000" algn="tl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5400" b="1" cap="none" spc="0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511575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504712" y="3117658"/>
            <a:ext cx="4791228" cy="895350"/>
          </a:xfrm>
        </p:spPr>
        <p:txBody>
          <a:bodyPr>
            <a:normAutofit/>
          </a:bodyPr>
          <a:lstStyle/>
          <a:p>
            <a:r>
              <a:rPr lang="en-US" altLang="zh-CN" sz="4400" dirty="0"/>
              <a:t>3D</a:t>
            </a:r>
            <a:r>
              <a:rPr lang="zh-CN" altLang="en-US" sz="4400"/>
              <a:t>模型</a:t>
            </a:r>
            <a:endParaRPr lang="zh-CN" altLang="en-US" sz="4400" dirty="0"/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20914" y="2598058"/>
            <a:ext cx="1970625" cy="21985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7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6551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" name="3D 模型 2">
                <a:extLst>
                  <a:ext uri="{FF2B5EF4-FFF2-40B4-BE49-F238E27FC236}">
                    <a16:creationId xmlns:a16="http://schemas.microsoft.com/office/drawing/2014/main" id="{A8F88433-56A1-44E5-8351-09A50EE21B9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5159308"/>
                  </p:ext>
                </p:extLst>
              </p:nvPr>
            </p:nvGraphicFramePr>
            <p:xfrm>
              <a:off x="2826917" y="-11388"/>
              <a:ext cx="6538165" cy="6880776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6538165" cy="6880776"/>
                    </a:xfrm>
                    <a:prstGeom prst="rect">
                      <a:avLst/>
                    </a:prstGeom>
                  </am3d:spPr>
                  <am3d:camera>
                    <am3d:pos x="0" y="0" z="71451280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3866" d="1000000"/>
                    <am3d:preTrans dx="121564" dy="-17549612" dz="-83460"/>
                    <am3d:scale>
                      <am3d:sx n="1000000" d="1000000"/>
                      <am3d:sy n="1000000" d="1000000"/>
                      <am3d:sz n="1000000" d="1000000"/>
                    </am3d:scale>
                    <am3d:rot ax="112402" ay="18765" az="582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10649500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" name="3D 模型 2">
                <a:extLst>
                  <a:ext uri="{FF2B5EF4-FFF2-40B4-BE49-F238E27FC236}">
                    <a16:creationId xmlns:a16="http://schemas.microsoft.com/office/drawing/2014/main" id="{A8F88433-56A1-44E5-8351-09A50EE21B9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826917" y="-11388"/>
                <a:ext cx="6538165" cy="688077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432748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" name="3D 模型 2">
                <a:extLst>
                  <a:ext uri="{FF2B5EF4-FFF2-40B4-BE49-F238E27FC236}">
                    <a16:creationId xmlns:a16="http://schemas.microsoft.com/office/drawing/2014/main" id="{A8F88433-56A1-44E5-8351-09A50EE21B90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178329" y="93299"/>
              <a:ext cx="3835342" cy="6671401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3835342" cy="6671401"/>
                    </a:xfrm>
                    <a:prstGeom prst="rect">
                      <a:avLst/>
                    </a:prstGeom>
                  </am3d:spPr>
                  <am3d:camera>
                    <am3d:pos x="0" y="0" z="71451280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3866" d="1000000"/>
                    <am3d:preTrans dx="121564" dy="-17549612" dz="-83460"/>
                    <am3d:scale>
                      <am3d:sx n="1000000" d="1000000"/>
                      <am3d:sy n="1000000" d="1000000"/>
                      <am3d:sz n="1000000" d="1000000"/>
                    </am3d:scale>
                    <am3d:rot ax="5964490" ay="5172254" az="5965670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1064949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" name="3D 模型 2">
                <a:extLst>
                  <a:ext uri="{FF2B5EF4-FFF2-40B4-BE49-F238E27FC236}">
                    <a16:creationId xmlns:a16="http://schemas.microsoft.com/office/drawing/2014/main" id="{A8F88433-56A1-44E5-8351-09A50EE21B9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78329" y="93299"/>
                <a:ext cx="3835342" cy="667140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476382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" name="3D 模型 2">
                <a:extLst>
                  <a:ext uri="{FF2B5EF4-FFF2-40B4-BE49-F238E27FC236}">
                    <a16:creationId xmlns:a16="http://schemas.microsoft.com/office/drawing/2014/main" id="{A8F88433-56A1-44E5-8351-09A50EE21B9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827871727"/>
                  </p:ext>
                </p:extLst>
              </p:nvPr>
            </p:nvGraphicFramePr>
            <p:xfrm>
              <a:off x="-733404" y="-669967"/>
              <a:ext cx="13658808" cy="14264905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13658808" cy="14264905"/>
                    </a:xfrm>
                    <a:prstGeom prst="rect">
                      <a:avLst/>
                    </a:prstGeom>
                  </am3d:spPr>
                  <am3d:camera>
                    <am3d:pos x="0" y="0" z="71451280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3866" d="1000000"/>
                    <am3d:preTrans dx="121564" dy="-17549612" dz="-83460"/>
                    <am3d:scale>
                      <am3d:sx n="1000000" d="1000000"/>
                      <am3d:sy n="1000000" d="1000000"/>
                      <am3d:sz n="1000000" d="1000000"/>
                    </am3d:scale>
                    <am3d:rot ax="-10687210" ay="-37246" az="10798770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22165799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" name="3D 模型 2">
                <a:extLst>
                  <a:ext uri="{FF2B5EF4-FFF2-40B4-BE49-F238E27FC236}">
                    <a16:creationId xmlns:a16="http://schemas.microsoft.com/office/drawing/2014/main" id="{A8F88433-56A1-44E5-8351-09A50EE21B9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733404" y="-669967"/>
                <a:ext cx="13658808" cy="14264905"/>
              </a:xfrm>
              <a:prstGeom prst="rect">
                <a:avLst/>
              </a:prstGeom>
            </p:spPr>
          </p:pic>
        </mc:Fallback>
      </mc:AlternateContent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181A213F-CD64-4C78-95D6-789E8F3C470D}"/>
              </a:ext>
            </a:extLst>
          </p:cNvPr>
          <p:cNvCxnSpPr/>
          <p:nvPr/>
        </p:nvCxnSpPr>
        <p:spPr>
          <a:xfrm>
            <a:off x="6212114" y="4034971"/>
            <a:ext cx="3120572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文本框 4">
            <a:extLst>
              <a:ext uri="{FF2B5EF4-FFF2-40B4-BE49-F238E27FC236}">
                <a16:creationId xmlns:a16="http://schemas.microsoft.com/office/drawing/2014/main" id="{0D175936-BDD1-4B23-B5B2-D90FC94DAD6F}"/>
              </a:ext>
            </a:extLst>
          </p:cNvPr>
          <p:cNvSpPr txBox="1"/>
          <p:nvPr/>
        </p:nvSpPr>
        <p:spPr>
          <a:xfrm>
            <a:off x="9448800" y="3850305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散热器</a:t>
            </a:r>
          </a:p>
        </p:txBody>
      </p:sp>
    </p:spTree>
    <p:extLst>
      <p:ext uri="{BB962C8B-B14F-4D97-AF65-F5344CB8AC3E}">
        <p14:creationId xmlns:p14="http://schemas.microsoft.com/office/powerpoint/2010/main" val="41134980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ḷî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ṧlîḑe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îṧlíďê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ṡ1îḋ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ŝ1ídé"/>
          <p:cNvSpPr>
            <a:spLocks noGrp="1"/>
          </p:cNvSpPr>
          <p:nvPr>
            <p:ph type="ctrTitle"/>
          </p:nvPr>
        </p:nvSpPr>
        <p:spPr>
          <a:xfrm>
            <a:off x="673100" y="1736213"/>
            <a:ext cx="10845798" cy="2091515"/>
          </a:xfrm>
        </p:spPr>
        <p:txBody>
          <a:bodyPr/>
          <a:lstStyle/>
          <a:p>
            <a:r>
              <a:rPr lang="zh-CN" altLang="en-US" sz="6000" dirty="0"/>
              <a:t>谢谢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î$ľîḓe"/>
          <p:cNvSpPr>
            <a:spLocks noGrp="1"/>
          </p:cNvSpPr>
          <p:nvPr>
            <p:ph type="body" sz="quarter" idx="18"/>
          </p:nvPr>
        </p:nvSpPr>
        <p:spPr>
          <a:xfrm>
            <a:off x="673101" y="4216184"/>
            <a:ext cx="10845798" cy="669145"/>
          </a:xfrm>
        </p:spPr>
        <p:txBody>
          <a:bodyPr>
            <a:normAutofit/>
          </a:bodyPr>
          <a:lstStyle/>
          <a:p>
            <a:r>
              <a:rPr lang="zh-CN" altLang="en-US" sz="2400" dirty="0"/>
              <a:t>孰能生巧</a:t>
            </a:r>
            <a:endParaRPr lang="en-US" altLang="en-US" sz="2400" dirty="0"/>
          </a:p>
        </p:txBody>
      </p:sp>
      <p:sp>
        <p:nvSpPr>
          <p:cNvPr id="6" name="íŝľíḋe"/>
          <p:cNvSpPr>
            <a:spLocks noGrp="1"/>
          </p:cNvSpPr>
          <p:nvPr>
            <p:ph type="body" sz="quarter" idx="10"/>
          </p:nvPr>
        </p:nvSpPr>
        <p:spPr>
          <a:xfrm>
            <a:off x="673100" y="3827728"/>
            <a:ext cx="10845798" cy="296271"/>
          </a:xfrm>
        </p:spPr>
        <p:txBody>
          <a:bodyPr/>
          <a:lstStyle/>
          <a:p>
            <a:r>
              <a:rPr lang="zh-CN" altLang="en-US" sz="2400" dirty="0"/>
              <a:t>多用、多探索 </a:t>
            </a: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504712" y="3117658"/>
            <a:ext cx="4791228" cy="895350"/>
          </a:xfrm>
        </p:spPr>
        <p:txBody>
          <a:bodyPr>
            <a:normAutofit/>
          </a:bodyPr>
          <a:lstStyle/>
          <a:p>
            <a:r>
              <a:rPr lang="en-US" altLang="zh-CN" sz="4400" dirty="0"/>
              <a:t>Office</a:t>
            </a:r>
            <a:r>
              <a:rPr lang="zh-CN" altLang="en-US" sz="4400" dirty="0"/>
              <a:t>各版本差异</a:t>
            </a:r>
          </a:p>
        </p:txBody>
      </p:sp>
      <p:sp>
        <p:nvSpPr>
          <p:cNvPr id="6" name="îSľîḑê"/>
          <p:cNvSpPr>
            <a:spLocks noGrp="1"/>
          </p:cNvSpPr>
          <p:nvPr>
            <p:ph type="body" idx="1"/>
          </p:nvPr>
        </p:nvSpPr>
        <p:spPr>
          <a:xfrm>
            <a:off x="2391539" y="4013008"/>
            <a:ext cx="4791228" cy="1015623"/>
          </a:xfrm>
        </p:spPr>
        <p:txBody>
          <a:bodyPr>
            <a:normAutofit/>
          </a:bodyPr>
          <a:lstStyle/>
          <a:p>
            <a:pPr lvl="0"/>
            <a:r>
              <a:rPr lang="en-US" altLang="zh-CN" sz="2400" dirty="0"/>
              <a:t>Office 2019 or Office 365?</a:t>
            </a:r>
            <a:endParaRPr lang="zh-CN" altLang="en-US" sz="2400" dirty="0"/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20914" y="2598058"/>
            <a:ext cx="1970625" cy="21985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şļiďê"/>
          <p:cNvSpPr>
            <a:spLocks noGrp="1"/>
          </p:cNvSpPr>
          <p:nvPr>
            <p:ph type="title"/>
          </p:nvPr>
        </p:nvSpPr>
        <p:spPr>
          <a:xfrm>
            <a:off x="669923" y="-411154"/>
            <a:ext cx="10850563" cy="1028699"/>
          </a:xfrm>
        </p:spPr>
        <p:txBody>
          <a:bodyPr/>
          <a:lstStyle/>
          <a:p>
            <a:r>
              <a:rPr lang="en-US" altLang="zh-CN" dirty="0"/>
              <a:t>OFFICE</a:t>
            </a:r>
            <a:r>
              <a:rPr lang="zh-CN" altLang="en-US" dirty="0"/>
              <a:t>各版本差异</a:t>
            </a:r>
          </a:p>
        </p:txBody>
      </p:sp>
      <p:sp>
        <p:nvSpPr>
          <p:cNvPr id="3" name="íSľïḍê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F474878-8DA1-4235-A096-B363CD2E83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617545"/>
            <a:ext cx="10850563" cy="5971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88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62F25C-34F9-4C10-BEDE-4CE69A432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ffice 2019 </a:t>
            </a:r>
            <a:r>
              <a:rPr lang="zh-CN" altLang="en-US" dirty="0"/>
              <a:t>和</a:t>
            </a:r>
            <a:r>
              <a:rPr lang="en-US" altLang="zh-CN" dirty="0"/>
              <a:t> Office 365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158D0B0-B7ED-4949-9679-1133356C6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317804C-44E0-45F8-909F-505D8A0FC285}"/>
              </a:ext>
            </a:extLst>
          </p:cNvPr>
          <p:cNvSpPr txBox="1"/>
          <p:nvPr/>
        </p:nvSpPr>
        <p:spPr>
          <a:xfrm>
            <a:off x="669924" y="1475539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简而言之</a:t>
            </a:r>
            <a:r>
              <a:rPr lang="en-US" altLang="zh-CN" sz="2800" dirty="0"/>
              <a:t>——</a:t>
            </a:r>
            <a:endParaRPr lang="zh-CN" altLang="en-US" sz="2800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460F296-289A-4C2E-94FC-59AD4114C4DB}"/>
              </a:ext>
            </a:extLst>
          </p:cNvPr>
          <p:cNvSpPr txBox="1"/>
          <p:nvPr/>
        </p:nvSpPr>
        <p:spPr>
          <a:xfrm>
            <a:off x="669924" y="2584054"/>
            <a:ext cx="93569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Office365:</a:t>
            </a:r>
            <a:r>
              <a:rPr lang="zh-CN" altLang="en-US" sz="2800" dirty="0"/>
              <a:t>订阅模式，对学生免费，功能更齐全，随时更新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0373319-2DD1-4887-985B-C21D69B427B8}"/>
              </a:ext>
            </a:extLst>
          </p:cNvPr>
          <p:cNvSpPr txBox="1"/>
          <p:nvPr/>
        </p:nvSpPr>
        <p:spPr>
          <a:xfrm>
            <a:off x="669924" y="4326486"/>
            <a:ext cx="951414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Office2019:</a:t>
            </a:r>
            <a:r>
              <a:rPr lang="zh-CN" altLang="en-US" sz="2800" dirty="0"/>
              <a:t>一次性付费机制，一机一码，永久使用。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en-US" altLang="zh-CN" sz="2800" dirty="0"/>
              <a:t>                  </a:t>
            </a:r>
            <a:r>
              <a:rPr lang="zh-CN" altLang="en-US" sz="2800" dirty="0"/>
              <a:t>不会有最新功能更新，仅有安全和性能上的维护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34EFB9D-7CA9-4253-8748-C966409EC6AF}"/>
              </a:ext>
            </a:extLst>
          </p:cNvPr>
          <p:cNvSpPr txBox="1"/>
          <p:nvPr/>
        </p:nvSpPr>
        <p:spPr>
          <a:xfrm>
            <a:off x="5174299" y="3274285"/>
            <a:ext cx="48526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（如后面会介绍的</a:t>
            </a:r>
            <a:r>
              <a:rPr lang="zh-CN" altLang="en-US" sz="2800" dirty="0">
                <a:solidFill>
                  <a:srgbClr val="FF0000"/>
                </a:solidFill>
              </a:rPr>
              <a:t>设计灵感</a:t>
            </a:r>
            <a:r>
              <a:rPr lang="zh-CN" altLang="en-US" sz="2800" dirty="0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556129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504712" y="3117658"/>
            <a:ext cx="4791228" cy="895350"/>
          </a:xfrm>
        </p:spPr>
        <p:txBody>
          <a:bodyPr>
            <a:normAutofit/>
          </a:bodyPr>
          <a:lstStyle/>
          <a:p>
            <a:r>
              <a:rPr lang="en-US" altLang="zh-CN" sz="4400" dirty="0"/>
              <a:t>Office</a:t>
            </a:r>
            <a:r>
              <a:rPr lang="zh-CN" altLang="en-US" sz="4400" dirty="0"/>
              <a:t>安装介绍</a:t>
            </a:r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20914" y="2598058"/>
            <a:ext cx="1970625" cy="21985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06781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62F25C-34F9-4C10-BEDE-4CE69A432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461" y="-206522"/>
            <a:ext cx="10850563" cy="1028699"/>
          </a:xfrm>
        </p:spPr>
        <p:txBody>
          <a:bodyPr/>
          <a:lstStyle/>
          <a:p>
            <a:r>
              <a:rPr lang="zh-CN" altLang="en-US" dirty="0"/>
              <a:t>免费申请</a:t>
            </a:r>
            <a:r>
              <a:rPr lang="en-US" altLang="zh-CN" dirty="0"/>
              <a:t>Office365</a:t>
            </a:r>
            <a:r>
              <a:rPr lang="zh-CN" altLang="en-US" dirty="0"/>
              <a:t>教育版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158D0B0-B7ED-4949-9679-1133356C6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588B7A7-193F-492D-BCBB-D80311EC8D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461" y="887452"/>
            <a:ext cx="6770260" cy="221267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77F72E68-DCE4-4781-90D8-DF1A9C77A8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3702" y="762972"/>
            <a:ext cx="4504762" cy="4142857"/>
          </a:xfrm>
          <a:prstGeom prst="rect">
            <a:avLst/>
          </a:prstGeom>
        </p:spPr>
      </p:pic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4FE3AD46-75FC-42DD-8525-EFB52F3AE3E7}"/>
              </a:ext>
            </a:extLst>
          </p:cNvPr>
          <p:cNvCxnSpPr/>
          <p:nvPr/>
        </p:nvCxnSpPr>
        <p:spPr>
          <a:xfrm>
            <a:off x="6865257" y="2554514"/>
            <a:ext cx="827314" cy="7112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id="{2192DB8B-1C80-41C2-B178-03A82AB6E3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2789" y="3349837"/>
            <a:ext cx="3870913" cy="3535123"/>
          </a:xfrm>
          <a:prstGeom prst="rect">
            <a:avLst/>
          </a:prstGeom>
        </p:spPr>
      </p:pic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3A455F72-E848-4B0E-B7FF-A1A5F108225C}"/>
              </a:ext>
            </a:extLst>
          </p:cNvPr>
          <p:cNvCxnSpPr/>
          <p:nvPr/>
        </p:nvCxnSpPr>
        <p:spPr>
          <a:xfrm flipH="1">
            <a:off x="6865257" y="4194629"/>
            <a:ext cx="977311" cy="7112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7" name="图片 16">
            <a:extLst>
              <a:ext uri="{FF2B5EF4-FFF2-40B4-BE49-F238E27FC236}">
                <a16:creationId xmlns:a16="http://schemas.microsoft.com/office/drawing/2014/main" id="{244CE707-73E1-4FDA-85EE-95815A615E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021" y="3309257"/>
            <a:ext cx="3356278" cy="350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1715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62F25C-34F9-4C10-BEDE-4CE69A432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22177"/>
            <a:ext cx="10850563" cy="1028699"/>
          </a:xfrm>
        </p:spPr>
        <p:txBody>
          <a:bodyPr/>
          <a:lstStyle/>
          <a:p>
            <a:r>
              <a:rPr lang="zh-CN" altLang="en-US" dirty="0"/>
              <a:t>如何安装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158D0B0-B7ED-4949-9679-1133356C6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D1B13E3-6C76-46D2-9353-90E7A18EBB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3792" y="1017098"/>
            <a:ext cx="7133333" cy="1752381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1732FBE-239E-420F-94B1-3B71C5C0E2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114" y="1087493"/>
            <a:ext cx="3371429" cy="400000"/>
          </a:xfrm>
          <a:prstGeom prst="rect">
            <a:avLst/>
          </a:prstGeom>
        </p:spPr>
      </p:pic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4FE3AD46-75FC-42DD-8525-EFB52F3AE3E7}"/>
              </a:ext>
            </a:extLst>
          </p:cNvPr>
          <p:cNvCxnSpPr>
            <a:cxnSpLocks/>
          </p:cNvCxnSpPr>
          <p:nvPr/>
        </p:nvCxnSpPr>
        <p:spPr>
          <a:xfrm>
            <a:off x="3574354" y="1302007"/>
            <a:ext cx="130628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3A455F72-E848-4B0E-B7FF-A1A5F108225C}"/>
              </a:ext>
            </a:extLst>
          </p:cNvPr>
          <p:cNvCxnSpPr>
            <a:cxnSpLocks/>
          </p:cNvCxnSpPr>
          <p:nvPr/>
        </p:nvCxnSpPr>
        <p:spPr>
          <a:xfrm flipH="1">
            <a:off x="8016740" y="2285625"/>
            <a:ext cx="1" cy="1001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文本框 9">
            <a:extLst>
              <a:ext uri="{FF2B5EF4-FFF2-40B4-BE49-F238E27FC236}">
                <a16:creationId xmlns:a16="http://schemas.microsoft.com/office/drawing/2014/main" id="{85476D27-0254-418A-A221-90038088229F}"/>
              </a:ext>
            </a:extLst>
          </p:cNvPr>
          <p:cNvSpPr txBox="1"/>
          <p:nvPr/>
        </p:nvSpPr>
        <p:spPr>
          <a:xfrm>
            <a:off x="1088571" y="1774133"/>
            <a:ext cx="29629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win10</a:t>
            </a:r>
            <a:r>
              <a:rPr lang="zh-CN" altLang="en-US" sz="2800" dirty="0"/>
              <a:t>桌面下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291E7AC2-D894-41A9-9D73-CFC333F8F4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4623" y="3429000"/>
            <a:ext cx="6325228" cy="2365735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B213C522-3A10-4DB0-B823-D495774673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2149" y="3399270"/>
            <a:ext cx="5109029" cy="2944383"/>
          </a:xfrm>
          <a:prstGeom prst="rect">
            <a:avLst/>
          </a:prstGeom>
        </p:spPr>
      </p:pic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CCB66868-5F7C-4A3B-AAB8-1DF5952947DF}"/>
              </a:ext>
            </a:extLst>
          </p:cNvPr>
          <p:cNvCxnSpPr>
            <a:cxnSpLocks/>
          </p:cNvCxnSpPr>
          <p:nvPr/>
        </p:nvCxnSpPr>
        <p:spPr>
          <a:xfrm flipH="1">
            <a:off x="4776992" y="4331130"/>
            <a:ext cx="100071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1959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62F25C-34F9-4C10-BEDE-4CE69A432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等等，别忘了一些快捷键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158D0B0-B7ED-4949-9679-1133356C6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317804C-44E0-45F8-909F-505D8A0FC285}"/>
              </a:ext>
            </a:extLst>
          </p:cNvPr>
          <p:cNvSpPr txBox="1"/>
          <p:nvPr/>
        </p:nvSpPr>
        <p:spPr>
          <a:xfrm>
            <a:off x="669924" y="1475539"/>
            <a:ext cx="61361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Ctrl C/Ctrl V:</a:t>
            </a:r>
            <a:r>
              <a:rPr lang="zh-CN" altLang="en-US" sz="2800" dirty="0"/>
              <a:t>复制粘贴（地球人都会）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460F296-289A-4C2E-94FC-59AD4114C4DB}"/>
              </a:ext>
            </a:extLst>
          </p:cNvPr>
          <p:cNvSpPr txBox="1"/>
          <p:nvPr/>
        </p:nvSpPr>
        <p:spPr>
          <a:xfrm>
            <a:off x="669924" y="2378468"/>
            <a:ext cx="54906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Ctrl S:</a:t>
            </a:r>
            <a:r>
              <a:rPr lang="zh-CN" altLang="en-US" sz="2800" dirty="0"/>
              <a:t>保存（没事多按按总没错）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0373319-2DD1-4887-985B-C21D69B427B8}"/>
              </a:ext>
            </a:extLst>
          </p:cNvPr>
          <p:cNvSpPr txBox="1"/>
          <p:nvPr/>
        </p:nvSpPr>
        <p:spPr>
          <a:xfrm>
            <a:off x="669924" y="3212454"/>
            <a:ext cx="5981125" cy="31085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F5</a:t>
            </a:r>
            <a:r>
              <a:rPr lang="zh-CN" altLang="en-US" sz="2800" dirty="0"/>
              <a:t>：从头播放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en-US" altLang="zh-CN" sz="2800" dirty="0"/>
              <a:t>Shift + F5 : </a:t>
            </a:r>
            <a:r>
              <a:rPr lang="zh-CN" altLang="en-US" sz="2800" dirty="0"/>
              <a:t>从当前界面播放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zh-CN" altLang="en-US" sz="2800" dirty="0"/>
              <a:t>按住</a:t>
            </a:r>
            <a:r>
              <a:rPr lang="en-US" altLang="zh-CN" sz="2800" dirty="0"/>
              <a:t>Ctrl+</a:t>
            </a:r>
            <a:r>
              <a:rPr lang="zh-CN" altLang="en-US" sz="2800" dirty="0"/>
              <a:t>鼠标滚轮：放缩界面的大小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en-US" altLang="zh-CN" sz="2800" dirty="0"/>
              <a:t>ALT+F5</a:t>
            </a:r>
            <a:r>
              <a:rPr lang="zh-CN" altLang="en-US" sz="2800" dirty="0"/>
              <a:t>：以演示者视图播放</a:t>
            </a:r>
            <a:endParaRPr lang="en-US" altLang="zh-CN" sz="280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353BAF3-9993-4AD4-AABA-8DF6F58E76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9516" y="4766725"/>
            <a:ext cx="4222588" cy="1880371"/>
          </a:xfrm>
          <a:prstGeom prst="rect">
            <a:avLst/>
          </a:prstGeom>
        </p:spPr>
      </p:pic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7CC4A5B5-378D-49BC-93DA-D33C8B36EBFD}"/>
              </a:ext>
            </a:extLst>
          </p:cNvPr>
          <p:cNvCxnSpPr/>
          <p:nvPr/>
        </p:nvCxnSpPr>
        <p:spPr>
          <a:xfrm>
            <a:off x="5620534" y="6037263"/>
            <a:ext cx="206102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2685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bce64ca3-1e0d-4283-8385-7416779145b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CBB33"/>
      </a:accent1>
      <a:accent2>
        <a:srgbClr val="3B9AD9"/>
      </a:accent2>
      <a:accent3>
        <a:srgbClr val="F6A315"/>
      </a:accent3>
      <a:accent4>
        <a:srgbClr val="666666"/>
      </a:accent4>
      <a:accent5>
        <a:srgbClr val="909090"/>
      </a:accent5>
      <a:accent6>
        <a:srgbClr val="ACACAC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CBB33"/>
    </a:accent1>
    <a:accent2>
      <a:srgbClr val="3B9AD9"/>
    </a:accent2>
    <a:accent3>
      <a:srgbClr val="F6A315"/>
    </a:accent3>
    <a:accent4>
      <a:srgbClr val="666666"/>
    </a:accent4>
    <a:accent5>
      <a:srgbClr val="909090"/>
    </a:accent5>
    <a:accent6>
      <a:srgbClr val="ACACAC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CBB33"/>
    </a:accent1>
    <a:accent2>
      <a:srgbClr val="3B9AD9"/>
    </a:accent2>
    <a:accent3>
      <a:srgbClr val="F6A315"/>
    </a:accent3>
    <a:accent4>
      <a:srgbClr val="666666"/>
    </a:accent4>
    <a:accent5>
      <a:srgbClr val="909090"/>
    </a:accent5>
    <a:accent6>
      <a:srgbClr val="ACACAC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CBB33"/>
    </a:accent1>
    <a:accent2>
      <a:srgbClr val="3B9AD9"/>
    </a:accent2>
    <a:accent3>
      <a:srgbClr val="F6A315"/>
    </a:accent3>
    <a:accent4>
      <a:srgbClr val="666666"/>
    </a:accent4>
    <a:accent5>
      <a:srgbClr val="909090"/>
    </a:accent5>
    <a:accent6>
      <a:srgbClr val="ACACAC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CBB33"/>
    </a:accent1>
    <a:accent2>
      <a:srgbClr val="3B9AD9"/>
    </a:accent2>
    <a:accent3>
      <a:srgbClr val="F6A315"/>
    </a:accent3>
    <a:accent4>
      <a:srgbClr val="666666"/>
    </a:accent4>
    <a:accent5>
      <a:srgbClr val="909090"/>
    </a:accent5>
    <a:accent6>
      <a:srgbClr val="ACACAC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83</TotalTime>
  <Words>257</Words>
  <Application>Microsoft Office PowerPoint</Application>
  <PresentationFormat>宽屏</PresentationFormat>
  <Paragraphs>65</Paragraphs>
  <Slides>2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8</vt:i4>
      </vt:variant>
    </vt:vector>
  </HeadingPairs>
  <TitlesOfParts>
    <vt:vector size="34" baseType="lpstr">
      <vt:lpstr>等线</vt:lpstr>
      <vt:lpstr>Arial</vt:lpstr>
      <vt:lpstr>Calibri</vt:lpstr>
      <vt:lpstr>Impact</vt:lpstr>
      <vt:lpstr>主题5</vt:lpstr>
      <vt:lpstr>think-cell Slide</vt:lpstr>
      <vt:lpstr> 新生技术分享会</vt:lpstr>
      <vt:lpstr>PowerPoint 演示文稿</vt:lpstr>
      <vt:lpstr>Office各版本差异</vt:lpstr>
      <vt:lpstr>OFFICE各版本差异</vt:lpstr>
      <vt:lpstr>Office 2019 和 Office 365</vt:lpstr>
      <vt:lpstr>Office安装介绍</vt:lpstr>
      <vt:lpstr>免费申请Office365教育版</vt:lpstr>
      <vt:lpstr>如何安装</vt:lpstr>
      <vt:lpstr>等等，别忘了一些快捷键</vt:lpstr>
      <vt:lpstr>iSlide介绍</vt:lpstr>
      <vt:lpstr>什么是iSlide</vt:lpstr>
      <vt:lpstr>平滑功能</vt:lpstr>
      <vt:lpstr>PowerPoint 演示文稿</vt:lpstr>
      <vt:lpstr>PowerPoint 演示文稿</vt:lpstr>
      <vt:lpstr>PowerPoint 演示文稿</vt:lpstr>
      <vt:lpstr>PowerPoint 演示文稿</vt:lpstr>
      <vt:lpstr>设计灵感</vt:lpstr>
      <vt:lpstr>设计灵感</vt:lpstr>
      <vt:lpstr>PowerPoint 演示文稿</vt:lpstr>
      <vt:lpstr>布尔运算</vt:lpstr>
      <vt:lpstr>PowerPoint 演示文稿</vt:lpstr>
      <vt:lpstr>PowerPoint 演示文稿</vt:lpstr>
      <vt:lpstr>PowerPoint 演示文稿</vt:lpstr>
      <vt:lpstr>3D模型</vt:lpstr>
      <vt:lpstr>PowerPoint 演示文稿</vt:lpstr>
      <vt:lpstr>PowerPoint 演示文稿</vt:lpstr>
      <vt:lpstr>PowerPoint 演示文稿</vt:lpstr>
      <vt:lpstr>谢谢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VL55</cp:lastModifiedBy>
  <cp:revision>19</cp:revision>
  <cp:lastPrinted>2019-07-31T16:00:00Z</cp:lastPrinted>
  <dcterms:created xsi:type="dcterms:W3CDTF">2019-07-31T16:00:00Z</dcterms:created>
  <dcterms:modified xsi:type="dcterms:W3CDTF">2019-09-21T03:2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